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2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3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theme/theme4.xml" ContentType="application/vnd.openxmlformats-officedocument.theme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theme/theme5.xml" ContentType="application/vnd.openxmlformats-officedocument.theme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theme/theme6.xml" ContentType="application/vnd.openxmlformats-officedocument.theme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281" r:id="rId5"/>
    <p:sldMasterId id="2147485036" r:id="rId6"/>
    <p:sldMasterId id="2147485960" r:id="rId7"/>
    <p:sldMasterId id="2147486044" r:id="rId8"/>
    <p:sldMasterId id="2147486129" r:id="rId9"/>
    <p:sldMasterId id="2147486213" r:id="rId10"/>
    <p:sldMasterId id="2147486381" r:id="rId11"/>
  </p:sldMasterIdLst>
  <p:notesMasterIdLst>
    <p:notesMasterId r:id="rId22"/>
  </p:notesMasterIdLst>
  <p:handoutMasterIdLst>
    <p:handoutMasterId r:id="rId23"/>
  </p:handoutMasterIdLst>
  <p:sldIdLst>
    <p:sldId id="966" r:id="rId12"/>
    <p:sldId id="1323" r:id="rId13"/>
    <p:sldId id="1355" r:id="rId14"/>
    <p:sldId id="1372" r:id="rId15"/>
    <p:sldId id="1359" r:id="rId16"/>
    <p:sldId id="1360" r:id="rId17"/>
    <p:sldId id="1373" r:id="rId18"/>
    <p:sldId id="1361" r:id="rId19"/>
    <p:sldId id="1370" r:id="rId20"/>
    <p:sldId id="1366" r:id="rId21"/>
  </p:sldIdLst>
  <p:sldSz cx="9602788" cy="6858000"/>
  <p:notesSz cx="6950075" cy="9236075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82">
          <p15:clr>
            <a:srgbClr val="A4A3A4"/>
          </p15:clr>
        </p15:guide>
        <p15:guide id="2" pos="534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53C8"/>
    <a:srgbClr val="1785B8"/>
    <a:srgbClr val="00FF99"/>
    <a:srgbClr val="69B24B"/>
    <a:srgbClr val="4EB1EF"/>
    <a:srgbClr val="F0A933"/>
    <a:srgbClr val="FF9933"/>
    <a:srgbClr val="B1222B"/>
    <a:srgbClr val="B0232C"/>
    <a:srgbClr val="5859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14" autoAdjust="0"/>
    <p:restoredTop sz="98748" autoAdjust="0"/>
  </p:normalViewPr>
  <p:slideViewPr>
    <p:cSldViewPr snapToGrid="0" showGuides="1">
      <p:cViewPr varScale="1">
        <p:scale>
          <a:sx n="91" d="100"/>
          <a:sy n="91" d="100"/>
        </p:scale>
        <p:origin x="882" y="54"/>
      </p:cViewPr>
      <p:guideLst>
        <p:guide orient="horz" pos="282"/>
        <p:guide pos="53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 showGuides="1">
      <p:cViewPr varScale="1">
        <p:scale>
          <a:sx n="132" d="100"/>
          <a:sy n="132" d="100"/>
        </p:scale>
        <p:origin x="-1648" y="-104"/>
      </p:cViewPr>
      <p:guideLst>
        <p:guide orient="horz" pos="2909"/>
        <p:guide pos="218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8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1"/>
            <a:ext cx="3012329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2" tIns="45526" rIns="91052" bIns="45526" numCol="1" anchor="t" anchorCtr="0" compatLnSpc="1">
            <a:prstTxWarp prst="textNoShape">
              <a:avLst/>
            </a:prstTxWarp>
          </a:bodyPr>
          <a:lstStyle>
            <a:lvl1pPr defTabSz="877348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936173" y="1"/>
            <a:ext cx="3012329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2" tIns="45526" rIns="91052" bIns="45526" numCol="1" anchor="t" anchorCtr="0" compatLnSpc="1">
            <a:prstTxWarp prst="textNoShape">
              <a:avLst/>
            </a:prstTxWarp>
          </a:bodyPr>
          <a:lstStyle>
            <a:lvl1pPr algn="r" defTabSz="877348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9DCA1AE-70D5-47CE-9173-2386008EB88A}" type="datetimeFigureOut">
              <a:rPr lang="en-US"/>
              <a:pPr>
                <a:defRPr/>
              </a:pPr>
              <a:t>11/15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8774114"/>
            <a:ext cx="3012329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2" tIns="45526" rIns="91052" bIns="45526" numCol="1" anchor="b" anchorCtr="0" compatLnSpc="1">
            <a:prstTxWarp prst="textNoShape">
              <a:avLst/>
            </a:prstTxWarp>
          </a:bodyPr>
          <a:lstStyle>
            <a:lvl1pPr defTabSz="877348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936173" y="8774114"/>
            <a:ext cx="3012329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2" tIns="45526" rIns="91052" bIns="45526" numCol="1" anchor="b" anchorCtr="0" compatLnSpc="1">
            <a:prstTxWarp prst="textNoShape">
              <a:avLst/>
            </a:prstTxWarp>
          </a:bodyPr>
          <a:lstStyle>
            <a:lvl1pPr algn="r" defTabSz="877348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017ED4B-C5A9-48A7-AD9C-8DB68845D79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0762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1"/>
            <a:ext cx="3012329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2" tIns="45526" rIns="91052" bIns="45526" numCol="1" anchor="t" anchorCtr="0" compatLnSpc="1">
            <a:prstTxWarp prst="textNoShape">
              <a:avLst/>
            </a:prstTxWarp>
          </a:bodyPr>
          <a:lstStyle>
            <a:lvl1pPr defTabSz="877348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936173" y="1"/>
            <a:ext cx="3012329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2" tIns="45526" rIns="91052" bIns="45526" numCol="1" anchor="t" anchorCtr="0" compatLnSpc="1">
            <a:prstTxWarp prst="textNoShape">
              <a:avLst/>
            </a:prstTxWarp>
          </a:bodyPr>
          <a:lstStyle>
            <a:lvl1pPr algn="r" defTabSz="877348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8D11ABD-41A6-412E-8FFA-6E940B8133AC}" type="datetimeFigureOut">
              <a:rPr lang="en-US"/>
              <a:pPr>
                <a:defRPr/>
              </a:pPr>
              <a:t>11/1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9338" y="693738"/>
            <a:ext cx="4851400" cy="3465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268" tIns="45135" rIns="90268" bIns="45135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95637" y="4386263"/>
            <a:ext cx="5558801" cy="415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2" tIns="45526" rIns="91052" bIns="455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8774114"/>
            <a:ext cx="3012329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2" tIns="45526" rIns="91052" bIns="45526" numCol="1" anchor="b" anchorCtr="0" compatLnSpc="1">
            <a:prstTxWarp prst="textNoShape">
              <a:avLst/>
            </a:prstTxWarp>
          </a:bodyPr>
          <a:lstStyle>
            <a:lvl1pPr defTabSz="877348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936173" y="8774114"/>
            <a:ext cx="3012329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52" tIns="45526" rIns="91052" bIns="45526" numCol="1" anchor="b" anchorCtr="0" compatLnSpc="1">
            <a:prstTxWarp prst="textNoShape">
              <a:avLst/>
            </a:prstTxWarp>
          </a:bodyPr>
          <a:lstStyle>
            <a:lvl1pPr algn="r" defTabSz="877348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334DF39-ED42-46C3-96E2-D280B382196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29122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49338" y="693738"/>
            <a:ext cx="4851400" cy="34655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55300" name="Slide Number Placeholder 3"/>
          <p:cNvSpPr txBox="1">
            <a:spLocks noGrp="1"/>
          </p:cNvSpPr>
          <p:nvPr/>
        </p:nvSpPr>
        <p:spPr bwMode="auto">
          <a:xfrm>
            <a:off x="3936173" y="8774114"/>
            <a:ext cx="3012329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52" tIns="45526" rIns="91052" bIns="45526" anchor="b"/>
          <a:lstStyle>
            <a:lvl1pPr defTabSz="92233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2233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2233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2233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2233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223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D0F75583-E223-498E-B51A-7FF2D5BF55E5}" type="slidenum">
              <a:rPr lang="en-US" sz="1200">
                <a:latin typeface="Calibri" pitchFamily="34" charset="0"/>
              </a:rPr>
              <a:pPr algn="r" eaLnBrk="1" hangingPunct="1"/>
              <a:t>1</a:t>
            </a:fld>
            <a:endParaRPr lang="en-US" sz="1200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50925" y="692150"/>
            <a:ext cx="48482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34DF39-ED42-46C3-96E2-D280B382196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50925" y="692150"/>
            <a:ext cx="48482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34DF39-ED42-46C3-96E2-D280B382196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50925" y="692150"/>
            <a:ext cx="48482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34DF39-ED42-46C3-96E2-D280B382196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5607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9338" y="693738"/>
            <a:ext cx="4851400" cy="3465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34DF39-ED42-46C3-96E2-D280B382196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50925" y="692150"/>
            <a:ext cx="48482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34DF39-ED42-46C3-96E2-D280B382196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9338" y="693738"/>
            <a:ext cx="4851400" cy="3465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34DF39-ED42-46C3-96E2-D280B382196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9338" y="693738"/>
            <a:ext cx="4851400" cy="3465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34DF39-ED42-46C3-96E2-D280B382196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50925" y="692150"/>
            <a:ext cx="48482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34DF39-ED42-46C3-96E2-D280B382196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49338" y="693738"/>
            <a:ext cx="4851400" cy="3465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34DF39-ED42-46C3-96E2-D280B3821964}" type="slidenum">
              <a:rPr lang="en-US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711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09105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15815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8867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32978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558007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156531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3150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98582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21095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55777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12020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1482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164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33563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36225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12251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060808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63927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41171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487433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3371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4283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426799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49003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8719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27610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9733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97708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701397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53829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98977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77147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69198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34114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56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88851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29172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285285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42932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87863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03688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55828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537858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19071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25193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95791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238214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73067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27199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666550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0954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43060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75704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869393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95405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090853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67563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18410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98466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875029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24808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75435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60410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411687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703372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13410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30080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43389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85794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13165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02133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05521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117592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01864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242988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03634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8846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0182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277755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94" y="163513"/>
            <a:ext cx="8688237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394" y="1508133"/>
            <a:ext cx="8688237" cy="4614863"/>
          </a:xfrm>
        </p:spPr>
        <p:txBody>
          <a:bodyPr/>
          <a:lstStyle/>
          <a:p>
            <a:pPr lvl="0"/>
            <a:r>
              <a:rPr lang="en-US" noProof="0" dirty="0" smtClean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13522986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547700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760267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610025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882423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124708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53451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743993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8668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336884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3878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823967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62181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22225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39351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98529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308749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852809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37708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97804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03133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229755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6495378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400296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13841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94303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09024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985930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932646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03489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49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28443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370318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295292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05955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845178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22973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95959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393351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01782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12924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605708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6854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402989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80052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31286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012112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578168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087808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74370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828155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303146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619776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76407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84528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72826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406959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21947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558441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401139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757084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167224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829927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01059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7610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33546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13332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87593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719417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10728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431562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52974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16148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340017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530422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715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52856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885698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23991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799716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62572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2388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052536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42112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20489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6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205653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249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879496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88448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10118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82259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771306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539347"/>
      </p:ext>
    </p:extLst>
  </p:cSld>
  <p:clrMapOvr>
    <a:masterClrMapping/>
  </p:clrMapOvr>
  <p:hf hdr="0" ftr="0" dt="0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37" y="163513"/>
            <a:ext cx="8688237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337" y="1508133"/>
            <a:ext cx="8688237" cy="4614863"/>
          </a:xfrm>
        </p:spPr>
        <p:txBody>
          <a:bodyPr/>
          <a:lstStyle/>
          <a:p>
            <a:pPr lvl="0"/>
            <a:r>
              <a:rPr lang="en-US" noProof="0" dirty="0" smtClean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967592139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3034361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999804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0421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6400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889892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296935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610613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138032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04606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61068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088769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40924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16313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513750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9005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11583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178981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132966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36283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00568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65111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652733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763140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466710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37564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7230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08770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810449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781446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8138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96540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5550230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773636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8770355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69843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288754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0921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93190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3047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01592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597748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676835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30874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86704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36014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625770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52461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7693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60281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778666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0693433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24484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81310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81487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795530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920232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09941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0084204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390439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6429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3245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682402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773032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102412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96467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75946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6400232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010594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75415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2445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8566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09709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818216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018570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241152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4057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405278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750090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185216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58632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07581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81046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84211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613653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434012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51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5407708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809404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41266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077801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4545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7945493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15" y="163513"/>
            <a:ext cx="8688237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315" y="1508133"/>
            <a:ext cx="8688237" cy="4614863"/>
          </a:xfrm>
        </p:spPr>
        <p:txBody>
          <a:bodyPr/>
          <a:lstStyle/>
          <a:p>
            <a:pPr lvl="0"/>
            <a:r>
              <a:rPr lang="en-US" noProof="0" dirty="0" smtClean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67574114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26932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662136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7988091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695371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435424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748026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381352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951022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467846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38506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692917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4576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713936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24088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073482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213156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415444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5681288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78494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526748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2085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849179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551159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9386052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18399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98263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704831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3140281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6333161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175260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35965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4682108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89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03394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6110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2533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9193748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365122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0864893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513516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2220126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0055294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2527228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0057290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23684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886192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7599456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154842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624332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925272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585018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802809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0104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915286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7203960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1542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61034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399169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548481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763449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641852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1376434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04157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577826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726462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7301214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61830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370409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210384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231777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140176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121428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8977193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45456051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8359635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635689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4636507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79472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728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334290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302285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084929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2855340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1626820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094855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126716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039917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986617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207113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5180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39827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5666695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36" y="163513"/>
            <a:ext cx="8688237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536" y="1508133"/>
            <a:ext cx="8688237" cy="4614863"/>
          </a:xfrm>
        </p:spPr>
        <p:txBody>
          <a:bodyPr/>
          <a:lstStyle/>
          <a:p>
            <a:pPr lvl="0"/>
            <a:r>
              <a:rPr lang="en-US" noProof="0" dirty="0" smtClean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307085842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505820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048519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543937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581239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2934311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404689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7300498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2763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704120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537398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4160617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904528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86805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411795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32313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7476645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2528973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723736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3215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329013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001845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0268668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779830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026820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754919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593046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1064857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6889480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022366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19558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711228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7396475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86527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0080469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2107201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9280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8109168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047393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338072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9124281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1152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5580869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505391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069213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6016226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974812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671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358175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5308760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538409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7600105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6239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3964374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35333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9166898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094560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457554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8362723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994591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4249343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8875606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89483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129958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481978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52408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4542819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3311681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228195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707799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542136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955796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197316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231283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0347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816348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5401165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234937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551515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91993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8333252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96856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615699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623071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89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0306807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9046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52" y="163513"/>
            <a:ext cx="8688237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552" y="1508133"/>
            <a:ext cx="8688237" cy="4614863"/>
          </a:xfrm>
        </p:spPr>
        <p:txBody>
          <a:bodyPr/>
          <a:lstStyle/>
          <a:p>
            <a:pPr lvl="0"/>
            <a:r>
              <a:rPr lang="en-US" noProof="0" dirty="0" smtClean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2982591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2091058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917334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556760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963481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0184598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037308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319" y="163513"/>
            <a:ext cx="8688237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319" y="1508133"/>
            <a:ext cx="8688237" cy="4614863"/>
          </a:xfrm>
        </p:spPr>
        <p:txBody>
          <a:bodyPr/>
          <a:lstStyle/>
          <a:p>
            <a:pPr lvl="0"/>
            <a:r>
              <a:rPr lang="en-US" noProof="0" dirty="0" smtClean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50997426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7170705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6932705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6360146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2019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714822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2558332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637395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2940737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69935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796664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7473383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83975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580504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5042126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3338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4267992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2229023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4965453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974840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633990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253734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622793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923231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251824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616910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4352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341149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1880520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0901214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389694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933885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019918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392776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0689208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631366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24679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83041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9251932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224213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720718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7636742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6895662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630494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0" y="152400"/>
            <a:ext cx="9602788" cy="609600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0" y="609600"/>
            <a:ext cx="9602788" cy="533400"/>
          </a:xfrm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9202740" y="6492879"/>
            <a:ext cx="400050" cy="365125"/>
          </a:xfrm>
          <a:prstGeom prst="rect">
            <a:avLst/>
          </a:prstGeom>
        </p:spPr>
        <p:txBody>
          <a:bodyPr/>
          <a:lstStyle>
            <a:lvl1pPr>
              <a:defRPr sz="90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F7026D4-26AA-48B6-9886-949759F1C35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396673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3518045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4669970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570448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843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0908535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9907230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436481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1259726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9805964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808221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683070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5815127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386988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590652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94224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7300807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408698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8345781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1638497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8993269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947803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844216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9583087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1802056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2334317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8248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01822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657521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5805373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0590986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403843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368730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9213372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262868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8056663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718533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8683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3368848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1546189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040906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435947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479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141248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514860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0093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0313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55808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370318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402989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84528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3354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5285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87949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88989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1158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0877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9319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39643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77866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324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09709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8421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662136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57139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93860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6110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8861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4610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48197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2103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3342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27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398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7041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832901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28672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9843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179746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544" y="163513"/>
            <a:ext cx="8688237" cy="8318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544" y="1508133"/>
            <a:ext cx="8688237" cy="4614863"/>
          </a:xfrm>
        </p:spPr>
        <p:txBody>
          <a:bodyPr/>
          <a:lstStyle/>
          <a:p>
            <a:pPr lvl="0"/>
            <a:r>
              <a:rPr lang="en-US" noProof="0" dirty="0" smtClean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402948974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1241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816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4" name="Picture 149" descr="BCG_Logotype_Regular_rev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955215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919859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794711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132935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8307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148" descr="BCG_Monogram_RGB"/>
          <p:cNvSpPr>
            <a:spLocks noChangeAspect="1" noChangeArrowheads="1"/>
          </p:cNvSpPr>
          <p:nvPr/>
        </p:nvSpPr>
        <p:spPr bwMode="auto">
          <a:xfrm>
            <a:off x="635000" y="644525"/>
            <a:ext cx="1619250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icture 149" descr="BCG_Logotype_Regular_rev"/>
          <p:cNvSpPr>
            <a:spLocks noChangeAspect="1" noChangeArrowheads="1"/>
          </p:cNvSpPr>
          <p:nvPr/>
        </p:nvSpPr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435085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35231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41796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49" descr="BCG_Logotype_Regular_rev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450" y="5832913"/>
            <a:ext cx="4178300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370064" y="658800"/>
            <a:ext cx="1618488" cy="667512"/>
          </a:xfrm>
        </p:spPr>
        <p:txBody>
          <a:bodyPr lIns="90000" tIns="90000" rIns="90000" bIns="90000" anchor="ctr"/>
          <a:lstStyle>
            <a:lvl1pPr algn="ctr">
              <a:defRPr sz="1400" b="0">
                <a:solidFill>
                  <a:srgbClr val="808080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681003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690400" cy="4615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3853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8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slideLayout" Target="../slideLayouts/slideLayout110.xml"/><Relationship Id="rId39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05.xml"/><Relationship Id="rId34" Type="http://schemas.openxmlformats.org/officeDocument/2006/relationships/slideLayout" Target="../slideLayouts/slideLayout118.xml"/><Relationship Id="rId42" Type="http://schemas.openxmlformats.org/officeDocument/2006/relationships/slideLayout" Target="../slideLayouts/slideLayout126.xml"/><Relationship Id="rId47" Type="http://schemas.openxmlformats.org/officeDocument/2006/relationships/slideLayout" Target="../slideLayouts/slideLayout131.xml"/><Relationship Id="rId50" Type="http://schemas.openxmlformats.org/officeDocument/2006/relationships/slideLayout" Target="../slideLayouts/slideLayout134.xml"/><Relationship Id="rId55" Type="http://schemas.openxmlformats.org/officeDocument/2006/relationships/slideLayout" Target="../slideLayouts/slideLayout139.xml"/><Relationship Id="rId63" Type="http://schemas.openxmlformats.org/officeDocument/2006/relationships/slideLayout" Target="../slideLayouts/slideLayout147.xml"/><Relationship Id="rId68" Type="http://schemas.openxmlformats.org/officeDocument/2006/relationships/slideLayout" Target="../slideLayouts/slideLayout152.xml"/><Relationship Id="rId76" Type="http://schemas.openxmlformats.org/officeDocument/2006/relationships/slideLayout" Target="../slideLayouts/slideLayout160.xml"/><Relationship Id="rId84" Type="http://schemas.openxmlformats.org/officeDocument/2006/relationships/theme" Target="../theme/theme2.xml"/><Relationship Id="rId7" Type="http://schemas.openxmlformats.org/officeDocument/2006/relationships/slideLayout" Target="../slideLayouts/slideLayout91.xml"/><Relationship Id="rId71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9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95.xml"/><Relationship Id="rId24" Type="http://schemas.openxmlformats.org/officeDocument/2006/relationships/slideLayout" Target="../slideLayouts/slideLayout108.xml"/><Relationship Id="rId32" Type="http://schemas.openxmlformats.org/officeDocument/2006/relationships/slideLayout" Target="../slideLayouts/slideLayout116.xml"/><Relationship Id="rId37" Type="http://schemas.openxmlformats.org/officeDocument/2006/relationships/slideLayout" Target="../slideLayouts/slideLayout121.xml"/><Relationship Id="rId40" Type="http://schemas.openxmlformats.org/officeDocument/2006/relationships/slideLayout" Target="../slideLayouts/slideLayout124.xml"/><Relationship Id="rId45" Type="http://schemas.openxmlformats.org/officeDocument/2006/relationships/slideLayout" Target="../slideLayouts/slideLayout129.xml"/><Relationship Id="rId53" Type="http://schemas.openxmlformats.org/officeDocument/2006/relationships/slideLayout" Target="../slideLayouts/slideLayout137.xml"/><Relationship Id="rId58" Type="http://schemas.openxmlformats.org/officeDocument/2006/relationships/slideLayout" Target="../slideLayouts/slideLayout142.xml"/><Relationship Id="rId66" Type="http://schemas.openxmlformats.org/officeDocument/2006/relationships/slideLayout" Target="../slideLayouts/slideLayout150.xml"/><Relationship Id="rId74" Type="http://schemas.openxmlformats.org/officeDocument/2006/relationships/slideLayout" Target="../slideLayouts/slideLayout158.xml"/><Relationship Id="rId79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89.xml"/><Relationship Id="rId61" Type="http://schemas.openxmlformats.org/officeDocument/2006/relationships/slideLayout" Target="../slideLayouts/slideLayout145.xml"/><Relationship Id="rId82" Type="http://schemas.openxmlformats.org/officeDocument/2006/relationships/slideLayout" Target="../slideLayouts/slideLayout166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31" Type="http://schemas.openxmlformats.org/officeDocument/2006/relationships/slideLayout" Target="../slideLayouts/slideLayout115.xml"/><Relationship Id="rId44" Type="http://schemas.openxmlformats.org/officeDocument/2006/relationships/slideLayout" Target="../slideLayouts/slideLayout128.xml"/><Relationship Id="rId52" Type="http://schemas.openxmlformats.org/officeDocument/2006/relationships/slideLayout" Target="../slideLayouts/slideLayout136.xml"/><Relationship Id="rId60" Type="http://schemas.openxmlformats.org/officeDocument/2006/relationships/slideLayout" Target="../slideLayouts/slideLayout144.xml"/><Relationship Id="rId65" Type="http://schemas.openxmlformats.org/officeDocument/2006/relationships/slideLayout" Target="../slideLayouts/slideLayout149.xml"/><Relationship Id="rId73" Type="http://schemas.openxmlformats.org/officeDocument/2006/relationships/slideLayout" Target="../slideLayouts/slideLayout157.xml"/><Relationship Id="rId78" Type="http://schemas.openxmlformats.org/officeDocument/2006/relationships/slideLayout" Target="../slideLayouts/slideLayout162.xml"/><Relationship Id="rId8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slideLayout" Target="../slideLayouts/slideLayout111.xml"/><Relationship Id="rId30" Type="http://schemas.openxmlformats.org/officeDocument/2006/relationships/slideLayout" Target="../slideLayouts/slideLayout114.xml"/><Relationship Id="rId35" Type="http://schemas.openxmlformats.org/officeDocument/2006/relationships/slideLayout" Target="../slideLayouts/slideLayout119.xml"/><Relationship Id="rId43" Type="http://schemas.openxmlformats.org/officeDocument/2006/relationships/slideLayout" Target="../slideLayouts/slideLayout127.xml"/><Relationship Id="rId48" Type="http://schemas.openxmlformats.org/officeDocument/2006/relationships/slideLayout" Target="../slideLayouts/slideLayout132.xml"/><Relationship Id="rId56" Type="http://schemas.openxmlformats.org/officeDocument/2006/relationships/slideLayout" Target="../slideLayouts/slideLayout140.xml"/><Relationship Id="rId64" Type="http://schemas.openxmlformats.org/officeDocument/2006/relationships/slideLayout" Target="../slideLayouts/slideLayout148.xml"/><Relationship Id="rId69" Type="http://schemas.openxmlformats.org/officeDocument/2006/relationships/slideLayout" Target="../slideLayouts/slideLayout153.xml"/><Relationship Id="rId77" Type="http://schemas.openxmlformats.org/officeDocument/2006/relationships/slideLayout" Target="../slideLayouts/slideLayout161.xml"/><Relationship Id="rId8" Type="http://schemas.openxmlformats.org/officeDocument/2006/relationships/slideLayout" Target="../slideLayouts/slideLayout92.xml"/><Relationship Id="rId51" Type="http://schemas.openxmlformats.org/officeDocument/2006/relationships/slideLayout" Target="../slideLayouts/slideLayout135.xml"/><Relationship Id="rId72" Type="http://schemas.openxmlformats.org/officeDocument/2006/relationships/slideLayout" Target="../slideLayouts/slideLayout156.xml"/><Relationship Id="rId80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33" Type="http://schemas.openxmlformats.org/officeDocument/2006/relationships/slideLayout" Target="../slideLayouts/slideLayout117.xml"/><Relationship Id="rId38" Type="http://schemas.openxmlformats.org/officeDocument/2006/relationships/slideLayout" Target="../slideLayouts/slideLayout122.xml"/><Relationship Id="rId46" Type="http://schemas.openxmlformats.org/officeDocument/2006/relationships/slideLayout" Target="../slideLayouts/slideLayout130.xml"/><Relationship Id="rId59" Type="http://schemas.openxmlformats.org/officeDocument/2006/relationships/slideLayout" Target="../slideLayouts/slideLayout143.xml"/><Relationship Id="rId67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04.xml"/><Relationship Id="rId41" Type="http://schemas.openxmlformats.org/officeDocument/2006/relationships/slideLayout" Target="../slideLayouts/slideLayout125.xml"/><Relationship Id="rId54" Type="http://schemas.openxmlformats.org/officeDocument/2006/relationships/slideLayout" Target="../slideLayouts/slideLayout138.xml"/><Relationship Id="rId62" Type="http://schemas.openxmlformats.org/officeDocument/2006/relationships/slideLayout" Target="../slideLayouts/slideLayout146.xml"/><Relationship Id="rId70" Type="http://schemas.openxmlformats.org/officeDocument/2006/relationships/slideLayout" Target="../slideLayouts/slideLayout154.xml"/><Relationship Id="rId75" Type="http://schemas.openxmlformats.org/officeDocument/2006/relationships/slideLayout" Target="../slideLayouts/slideLayout159.xml"/><Relationship Id="rId83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slideLayout" Target="../slideLayouts/slideLayout112.xml"/><Relationship Id="rId36" Type="http://schemas.openxmlformats.org/officeDocument/2006/relationships/slideLayout" Target="../slideLayouts/slideLayout120.xml"/><Relationship Id="rId49" Type="http://schemas.openxmlformats.org/officeDocument/2006/relationships/slideLayout" Target="../slideLayouts/slideLayout133.xml"/><Relationship Id="rId57" Type="http://schemas.openxmlformats.org/officeDocument/2006/relationships/slideLayout" Target="../slideLayouts/slideLayout14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26" Type="http://schemas.openxmlformats.org/officeDocument/2006/relationships/slideLayout" Target="../slideLayouts/slideLayout193.xml"/><Relationship Id="rId39" Type="http://schemas.openxmlformats.org/officeDocument/2006/relationships/slideLayout" Target="../slideLayouts/slideLayout206.xml"/><Relationship Id="rId21" Type="http://schemas.openxmlformats.org/officeDocument/2006/relationships/slideLayout" Target="../slideLayouts/slideLayout188.xml"/><Relationship Id="rId34" Type="http://schemas.openxmlformats.org/officeDocument/2006/relationships/slideLayout" Target="../slideLayouts/slideLayout201.xml"/><Relationship Id="rId42" Type="http://schemas.openxmlformats.org/officeDocument/2006/relationships/slideLayout" Target="../slideLayouts/slideLayout209.xml"/><Relationship Id="rId47" Type="http://schemas.openxmlformats.org/officeDocument/2006/relationships/slideLayout" Target="../slideLayouts/slideLayout214.xml"/><Relationship Id="rId50" Type="http://schemas.openxmlformats.org/officeDocument/2006/relationships/slideLayout" Target="../slideLayouts/slideLayout217.xml"/><Relationship Id="rId55" Type="http://schemas.openxmlformats.org/officeDocument/2006/relationships/slideLayout" Target="../slideLayouts/slideLayout222.xml"/><Relationship Id="rId63" Type="http://schemas.openxmlformats.org/officeDocument/2006/relationships/slideLayout" Target="../slideLayouts/slideLayout230.xml"/><Relationship Id="rId68" Type="http://schemas.openxmlformats.org/officeDocument/2006/relationships/slideLayout" Target="../slideLayouts/slideLayout235.xml"/><Relationship Id="rId76" Type="http://schemas.openxmlformats.org/officeDocument/2006/relationships/slideLayout" Target="../slideLayouts/slideLayout243.xml"/><Relationship Id="rId84" Type="http://schemas.openxmlformats.org/officeDocument/2006/relationships/theme" Target="../theme/theme3.xml"/><Relationship Id="rId7" Type="http://schemas.openxmlformats.org/officeDocument/2006/relationships/slideLayout" Target="../slideLayouts/slideLayout174.xml"/><Relationship Id="rId71" Type="http://schemas.openxmlformats.org/officeDocument/2006/relationships/slideLayout" Target="../slideLayouts/slideLayout238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9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178.xml"/><Relationship Id="rId24" Type="http://schemas.openxmlformats.org/officeDocument/2006/relationships/slideLayout" Target="../slideLayouts/slideLayout191.xml"/><Relationship Id="rId32" Type="http://schemas.openxmlformats.org/officeDocument/2006/relationships/slideLayout" Target="../slideLayouts/slideLayout199.xml"/><Relationship Id="rId37" Type="http://schemas.openxmlformats.org/officeDocument/2006/relationships/slideLayout" Target="../slideLayouts/slideLayout204.xml"/><Relationship Id="rId40" Type="http://schemas.openxmlformats.org/officeDocument/2006/relationships/slideLayout" Target="../slideLayouts/slideLayout207.xml"/><Relationship Id="rId45" Type="http://schemas.openxmlformats.org/officeDocument/2006/relationships/slideLayout" Target="../slideLayouts/slideLayout212.xml"/><Relationship Id="rId53" Type="http://schemas.openxmlformats.org/officeDocument/2006/relationships/slideLayout" Target="../slideLayouts/slideLayout220.xml"/><Relationship Id="rId58" Type="http://schemas.openxmlformats.org/officeDocument/2006/relationships/slideLayout" Target="../slideLayouts/slideLayout225.xml"/><Relationship Id="rId66" Type="http://schemas.openxmlformats.org/officeDocument/2006/relationships/slideLayout" Target="../slideLayouts/slideLayout233.xml"/><Relationship Id="rId74" Type="http://schemas.openxmlformats.org/officeDocument/2006/relationships/slideLayout" Target="../slideLayouts/slideLayout241.xml"/><Relationship Id="rId79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172.xml"/><Relationship Id="rId61" Type="http://schemas.openxmlformats.org/officeDocument/2006/relationships/slideLayout" Target="../slideLayouts/slideLayout228.xml"/><Relationship Id="rId82" Type="http://schemas.openxmlformats.org/officeDocument/2006/relationships/slideLayout" Target="../slideLayouts/slideLayout249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31" Type="http://schemas.openxmlformats.org/officeDocument/2006/relationships/slideLayout" Target="../slideLayouts/slideLayout198.xml"/><Relationship Id="rId44" Type="http://schemas.openxmlformats.org/officeDocument/2006/relationships/slideLayout" Target="../slideLayouts/slideLayout211.xml"/><Relationship Id="rId52" Type="http://schemas.openxmlformats.org/officeDocument/2006/relationships/slideLayout" Target="../slideLayouts/slideLayout219.xml"/><Relationship Id="rId60" Type="http://schemas.openxmlformats.org/officeDocument/2006/relationships/slideLayout" Target="../slideLayouts/slideLayout227.xml"/><Relationship Id="rId65" Type="http://schemas.openxmlformats.org/officeDocument/2006/relationships/slideLayout" Target="../slideLayouts/slideLayout232.xml"/><Relationship Id="rId73" Type="http://schemas.openxmlformats.org/officeDocument/2006/relationships/slideLayout" Target="../slideLayouts/slideLayout240.xml"/><Relationship Id="rId78" Type="http://schemas.openxmlformats.org/officeDocument/2006/relationships/slideLayout" Target="../slideLayouts/slideLayout245.xml"/><Relationship Id="rId81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189.xml"/><Relationship Id="rId27" Type="http://schemas.openxmlformats.org/officeDocument/2006/relationships/slideLayout" Target="../slideLayouts/slideLayout194.xml"/><Relationship Id="rId30" Type="http://schemas.openxmlformats.org/officeDocument/2006/relationships/slideLayout" Target="../slideLayouts/slideLayout197.xml"/><Relationship Id="rId35" Type="http://schemas.openxmlformats.org/officeDocument/2006/relationships/slideLayout" Target="../slideLayouts/slideLayout202.xml"/><Relationship Id="rId43" Type="http://schemas.openxmlformats.org/officeDocument/2006/relationships/slideLayout" Target="../slideLayouts/slideLayout210.xml"/><Relationship Id="rId48" Type="http://schemas.openxmlformats.org/officeDocument/2006/relationships/slideLayout" Target="../slideLayouts/slideLayout215.xml"/><Relationship Id="rId56" Type="http://schemas.openxmlformats.org/officeDocument/2006/relationships/slideLayout" Target="../slideLayouts/slideLayout223.xml"/><Relationship Id="rId64" Type="http://schemas.openxmlformats.org/officeDocument/2006/relationships/slideLayout" Target="../slideLayouts/slideLayout231.xml"/><Relationship Id="rId69" Type="http://schemas.openxmlformats.org/officeDocument/2006/relationships/slideLayout" Target="../slideLayouts/slideLayout236.xml"/><Relationship Id="rId77" Type="http://schemas.openxmlformats.org/officeDocument/2006/relationships/slideLayout" Target="../slideLayouts/slideLayout244.xml"/><Relationship Id="rId8" Type="http://schemas.openxmlformats.org/officeDocument/2006/relationships/slideLayout" Target="../slideLayouts/slideLayout175.xml"/><Relationship Id="rId51" Type="http://schemas.openxmlformats.org/officeDocument/2006/relationships/slideLayout" Target="../slideLayouts/slideLayout218.xml"/><Relationship Id="rId72" Type="http://schemas.openxmlformats.org/officeDocument/2006/relationships/slideLayout" Target="../slideLayouts/slideLayout239.xml"/><Relationship Id="rId80" Type="http://schemas.openxmlformats.org/officeDocument/2006/relationships/slideLayout" Target="../slideLayouts/slideLayout247.xml"/><Relationship Id="rId3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5" Type="http://schemas.openxmlformats.org/officeDocument/2006/relationships/slideLayout" Target="../slideLayouts/slideLayout192.xml"/><Relationship Id="rId33" Type="http://schemas.openxmlformats.org/officeDocument/2006/relationships/slideLayout" Target="../slideLayouts/slideLayout200.xml"/><Relationship Id="rId38" Type="http://schemas.openxmlformats.org/officeDocument/2006/relationships/slideLayout" Target="../slideLayouts/slideLayout205.xml"/><Relationship Id="rId46" Type="http://schemas.openxmlformats.org/officeDocument/2006/relationships/slideLayout" Target="../slideLayouts/slideLayout213.xml"/><Relationship Id="rId59" Type="http://schemas.openxmlformats.org/officeDocument/2006/relationships/slideLayout" Target="../slideLayouts/slideLayout226.xml"/><Relationship Id="rId67" Type="http://schemas.openxmlformats.org/officeDocument/2006/relationships/slideLayout" Target="../slideLayouts/slideLayout234.xml"/><Relationship Id="rId20" Type="http://schemas.openxmlformats.org/officeDocument/2006/relationships/slideLayout" Target="../slideLayouts/slideLayout187.xml"/><Relationship Id="rId41" Type="http://schemas.openxmlformats.org/officeDocument/2006/relationships/slideLayout" Target="../slideLayouts/slideLayout208.xml"/><Relationship Id="rId54" Type="http://schemas.openxmlformats.org/officeDocument/2006/relationships/slideLayout" Target="../slideLayouts/slideLayout221.xml"/><Relationship Id="rId62" Type="http://schemas.openxmlformats.org/officeDocument/2006/relationships/slideLayout" Target="../slideLayouts/slideLayout229.xml"/><Relationship Id="rId70" Type="http://schemas.openxmlformats.org/officeDocument/2006/relationships/slideLayout" Target="../slideLayouts/slideLayout237.xml"/><Relationship Id="rId75" Type="http://schemas.openxmlformats.org/officeDocument/2006/relationships/slideLayout" Target="../slideLayouts/slideLayout242.xml"/><Relationship Id="rId83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5" Type="http://schemas.openxmlformats.org/officeDocument/2006/relationships/slideLayout" Target="../slideLayouts/slideLayout182.xml"/><Relationship Id="rId23" Type="http://schemas.openxmlformats.org/officeDocument/2006/relationships/slideLayout" Target="../slideLayouts/slideLayout190.xml"/><Relationship Id="rId28" Type="http://schemas.openxmlformats.org/officeDocument/2006/relationships/slideLayout" Target="../slideLayouts/slideLayout195.xml"/><Relationship Id="rId36" Type="http://schemas.openxmlformats.org/officeDocument/2006/relationships/slideLayout" Target="../slideLayouts/slideLayout203.xml"/><Relationship Id="rId49" Type="http://schemas.openxmlformats.org/officeDocument/2006/relationships/slideLayout" Target="../slideLayouts/slideLayout216.xml"/><Relationship Id="rId57" Type="http://schemas.openxmlformats.org/officeDocument/2006/relationships/slideLayout" Target="../slideLayouts/slideLayout22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3.xml"/><Relationship Id="rId18" Type="http://schemas.openxmlformats.org/officeDocument/2006/relationships/slideLayout" Target="../slideLayouts/slideLayout268.xml"/><Relationship Id="rId26" Type="http://schemas.openxmlformats.org/officeDocument/2006/relationships/slideLayout" Target="../slideLayouts/slideLayout276.xml"/><Relationship Id="rId39" Type="http://schemas.openxmlformats.org/officeDocument/2006/relationships/slideLayout" Target="../slideLayouts/slideLayout289.xml"/><Relationship Id="rId21" Type="http://schemas.openxmlformats.org/officeDocument/2006/relationships/slideLayout" Target="../slideLayouts/slideLayout271.xml"/><Relationship Id="rId34" Type="http://schemas.openxmlformats.org/officeDocument/2006/relationships/slideLayout" Target="../slideLayouts/slideLayout284.xml"/><Relationship Id="rId42" Type="http://schemas.openxmlformats.org/officeDocument/2006/relationships/slideLayout" Target="../slideLayouts/slideLayout292.xml"/><Relationship Id="rId47" Type="http://schemas.openxmlformats.org/officeDocument/2006/relationships/slideLayout" Target="../slideLayouts/slideLayout297.xml"/><Relationship Id="rId50" Type="http://schemas.openxmlformats.org/officeDocument/2006/relationships/slideLayout" Target="../slideLayouts/slideLayout300.xml"/><Relationship Id="rId55" Type="http://schemas.openxmlformats.org/officeDocument/2006/relationships/slideLayout" Target="../slideLayouts/slideLayout305.xml"/><Relationship Id="rId63" Type="http://schemas.openxmlformats.org/officeDocument/2006/relationships/slideLayout" Target="../slideLayouts/slideLayout313.xml"/><Relationship Id="rId68" Type="http://schemas.openxmlformats.org/officeDocument/2006/relationships/slideLayout" Target="../slideLayouts/slideLayout318.xml"/><Relationship Id="rId76" Type="http://schemas.openxmlformats.org/officeDocument/2006/relationships/slideLayout" Target="../slideLayouts/slideLayout326.xml"/><Relationship Id="rId84" Type="http://schemas.openxmlformats.org/officeDocument/2006/relationships/slideLayout" Target="../slideLayouts/slideLayout334.xml"/><Relationship Id="rId7" Type="http://schemas.openxmlformats.org/officeDocument/2006/relationships/slideLayout" Target="../slideLayouts/slideLayout257.xml"/><Relationship Id="rId71" Type="http://schemas.openxmlformats.org/officeDocument/2006/relationships/slideLayout" Target="../slideLayouts/slideLayout321.xml"/><Relationship Id="rId2" Type="http://schemas.openxmlformats.org/officeDocument/2006/relationships/slideLayout" Target="../slideLayouts/slideLayout252.xml"/><Relationship Id="rId16" Type="http://schemas.openxmlformats.org/officeDocument/2006/relationships/slideLayout" Target="../slideLayouts/slideLayout266.xml"/><Relationship Id="rId29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61.xml"/><Relationship Id="rId24" Type="http://schemas.openxmlformats.org/officeDocument/2006/relationships/slideLayout" Target="../slideLayouts/slideLayout274.xml"/><Relationship Id="rId32" Type="http://schemas.openxmlformats.org/officeDocument/2006/relationships/slideLayout" Target="../slideLayouts/slideLayout282.xml"/><Relationship Id="rId37" Type="http://schemas.openxmlformats.org/officeDocument/2006/relationships/slideLayout" Target="../slideLayouts/slideLayout287.xml"/><Relationship Id="rId40" Type="http://schemas.openxmlformats.org/officeDocument/2006/relationships/slideLayout" Target="../slideLayouts/slideLayout290.xml"/><Relationship Id="rId45" Type="http://schemas.openxmlformats.org/officeDocument/2006/relationships/slideLayout" Target="../slideLayouts/slideLayout295.xml"/><Relationship Id="rId53" Type="http://schemas.openxmlformats.org/officeDocument/2006/relationships/slideLayout" Target="../slideLayouts/slideLayout303.xml"/><Relationship Id="rId58" Type="http://schemas.openxmlformats.org/officeDocument/2006/relationships/slideLayout" Target="../slideLayouts/slideLayout308.xml"/><Relationship Id="rId66" Type="http://schemas.openxmlformats.org/officeDocument/2006/relationships/slideLayout" Target="../slideLayouts/slideLayout316.xml"/><Relationship Id="rId74" Type="http://schemas.openxmlformats.org/officeDocument/2006/relationships/slideLayout" Target="../slideLayouts/slideLayout324.xml"/><Relationship Id="rId79" Type="http://schemas.openxmlformats.org/officeDocument/2006/relationships/slideLayout" Target="../slideLayouts/slideLayout329.xml"/><Relationship Id="rId5" Type="http://schemas.openxmlformats.org/officeDocument/2006/relationships/slideLayout" Target="../slideLayouts/slideLayout255.xml"/><Relationship Id="rId61" Type="http://schemas.openxmlformats.org/officeDocument/2006/relationships/slideLayout" Target="../slideLayouts/slideLayout311.xml"/><Relationship Id="rId82" Type="http://schemas.openxmlformats.org/officeDocument/2006/relationships/slideLayout" Target="../slideLayouts/slideLayout332.xml"/><Relationship Id="rId19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54.xml"/><Relationship Id="rId9" Type="http://schemas.openxmlformats.org/officeDocument/2006/relationships/slideLayout" Target="../slideLayouts/slideLayout259.xml"/><Relationship Id="rId14" Type="http://schemas.openxmlformats.org/officeDocument/2006/relationships/slideLayout" Target="../slideLayouts/slideLayout264.xml"/><Relationship Id="rId22" Type="http://schemas.openxmlformats.org/officeDocument/2006/relationships/slideLayout" Target="../slideLayouts/slideLayout272.xml"/><Relationship Id="rId27" Type="http://schemas.openxmlformats.org/officeDocument/2006/relationships/slideLayout" Target="../slideLayouts/slideLayout277.xml"/><Relationship Id="rId30" Type="http://schemas.openxmlformats.org/officeDocument/2006/relationships/slideLayout" Target="../slideLayouts/slideLayout280.xml"/><Relationship Id="rId35" Type="http://schemas.openxmlformats.org/officeDocument/2006/relationships/slideLayout" Target="../slideLayouts/slideLayout285.xml"/><Relationship Id="rId43" Type="http://schemas.openxmlformats.org/officeDocument/2006/relationships/slideLayout" Target="../slideLayouts/slideLayout293.xml"/><Relationship Id="rId48" Type="http://schemas.openxmlformats.org/officeDocument/2006/relationships/slideLayout" Target="../slideLayouts/slideLayout298.xml"/><Relationship Id="rId56" Type="http://schemas.openxmlformats.org/officeDocument/2006/relationships/slideLayout" Target="../slideLayouts/slideLayout306.xml"/><Relationship Id="rId64" Type="http://schemas.openxmlformats.org/officeDocument/2006/relationships/slideLayout" Target="../slideLayouts/slideLayout314.xml"/><Relationship Id="rId69" Type="http://schemas.openxmlformats.org/officeDocument/2006/relationships/slideLayout" Target="../slideLayouts/slideLayout319.xml"/><Relationship Id="rId77" Type="http://schemas.openxmlformats.org/officeDocument/2006/relationships/slideLayout" Target="../slideLayouts/slideLayout327.xml"/><Relationship Id="rId8" Type="http://schemas.openxmlformats.org/officeDocument/2006/relationships/slideLayout" Target="../slideLayouts/slideLayout258.xml"/><Relationship Id="rId51" Type="http://schemas.openxmlformats.org/officeDocument/2006/relationships/slideLayout" Target="../slideLayouts/slideLayout301.xml"/><Relationship Id="rId72" Type="http://schemas.openxmlformats.org/officeDocument/2006/relationships/slideLayout" Target="../slideLayouts/slideLayout322.xml"/><Relationship Id="rId80" Type="http://schemas.openxmlformats.org/officeDocument/2006/relationships/slideLayout" Target="../slideLayouts/slideLayout330.xml"/><Relationship Id="rId85" Type="http://schemas.openxmlformats.org/officeDocument/2006/relationships/theme" Target="../theme/theme4.xml"/><Relationship Id="rId3" Type="http://schemas.openxmlformats.org/officeDocument/2006/relationships/slideLayout" Target="../slideLayouts/slideLayout253.xml"/><Relationship Id="rId12" Type="http://schemas.openxmlformats.org/officeDocument/2006/relationships/slideLayout" Target="../slideLayouts/slideLayout262.xml"/><Relationship Id="rId17" Type="http://schemas.openxmlformats.org/officeDocument/2006/relationships/slideLayout" Target="../slideLayouts/slideLayout267.xml"/><Relationship Id="rId25" Type="http://schemas.openxmlformats.org/officeDocument/2006/relationships/slideLayout" Target="../slideLayouts/slideLayout275.xml"/><Relationship Id="rId33" Type="http://schemas.openxmlformats.org/officeDocument/2006/relationships/slideLayout" Target="../slideLayouts/slideLayout283.xml"/><Relationship Id="rId38" Type="http://schemas.openxmlformats.org/officeDocument/2006/relationships/slideLayout" Target="../slideLayouts/slideLayout288.xml"/><Relationship Id="rId46" Type="http://schemas.openxmlformats.org/officeDocument/2006/relationships/slideLayout" Target="../slideLayouts/slideLayout296.xml"/><Relationship Id="rId59" Type="http://schemas.openxmlformats.org/officeDocument/2006/relationships/slideLayout" Target="../slideLayouts/slideLayout309.xml"/><Relationship Id="rId67" Type="http://schemas.openxmlformats.org/officeDocument/2006/relationships/slideLayout" Target="../slideLayouts/slideLayout317.xml"/><Relationship Id="rId20" Type="http://schemas.openxmlformats.org/officeDocument/2006/relationships/slideLayout" Target="../slideLayouts/slideLayout270.xml"/><Relationship Id="rId41" Type="http://schemas.openxmlformats.org/officeDocument/2006/relationships/slideLayout" Target="../slideLayouts/slideLayout291.xml"/><Relationship Id="rId54" Type="http://schemas.openxmlformats.org/officeDocument/2006/relationships/slideLayout" Target="../slideLayouts/slideLayout304.xml"/><Relationship Id="rId62" Type="http://schemas.openxmlformats.org/officeDocument/2006/relationships/slideLayout" Target="../slideLayouts/slideLayout312.xml"/><Relationship Id="rId70" Type="http://schemas.openxmlformats.org/officeDocument/2006/relationships/slideLayout" Target="../slideLayouts/slideLayout320.xml"/><Relationship Id="rId75" Type="http://schemas.openxmlformats.org/officeDocument/2006/relationships/slideLayout" Target="../slideLayouts/slideLayout325.xml"/><Relationship Id="rId83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251.xml"/><Relationship Id="rId6" Type="http://schemas.openxmlformats.org/officeDocument/2006/relationships/slideLayout" Target="../slideLayouts/slideLayout256.xml"/><Relationship Id="rId15" Type="http://schemas.openxmlformats.org/officeDocument/2006/relationships/slideLayout" Target="../slideLayouts/slideLayout265.xml"/><Relationship Id="rId23" Type="http://schemas.openxmlformats.org/officeDocument/2006/relationships/slideLayout" Target="../slideLayouts/slideLayout273.xml"/><Relationship Id="rId28" Type="http://schemas.openxmlformats.org/officeDocument/2006/relationships/slideLayout" Target="../slideLayouts/slideLayout278.xml"/><Relationship Id="rId36" Type="http://schemas.openxmlformats.org/officeDocument/2006/relationships/slideLayout" Target="../slideLayouts/slideLayout286.xml"/><Relationship Id="rId49" Type="http://schemas.openxmlformats.org/officeDocument/2006/relationships/slideLayout" Target="../slideLayouts/slideLayout299.xml"/><Relationship Id="rId57" Type="http://schemas.openxmlformats.org/officeDocument/2006/relationships/slideLayout" Target="../slideLayouts/slideLayout307.xml"/><Relationship Id="rId10" Type="http://schemas.openxmlformats.org/officeDocument/2006/relationships/slideLayout" Target="../slideLayouts/slideLayout260.xml"/><Relationship Id="rId31" Type="http://schemas.openxmlformats.org/officeDocument/2006/relationships/slideLayout" Target="../slideLayouts/slideLayout281.xml"/><Relationship Id="rId44" Type="http://schemas.openxmlformats.org/officeDocument/2006/relationships/slideLayout" Target="../slideLayouts/slideLayout294.xml"/><Relationship Id="rId52" Type="http://schemas.openxmlformats.org/officeDocument/2006/relationships/slideLayout" Target="../slideLayouts/slideLayout302.xml"/><Relationship Id="rId60" Type="http://schemas.openxmlformats.org/officeDocument/2006/relationships/slideLayout" Target="../slideLayouts/slideLayout310.xml"/><Relationship Id="rId65" Type="http://schemas.openxmlformats.org/officeDocument/2006/relationships/slideLayout" Target="../slideLayouts/slideLayout315.xml"/><Relationship Id="rId73" Type="http://schemas.openxmlformats.org/officeDocument/2006/relationships/slideLayout" Target="../slideLayouts/slideLayout323.xml"/><Relationship Id="rId78" Type="http://schemas.openxmlformats.org/officeDocument/2006/relationships/slideLayout" Target="../slideLayouts/slideLayout328.xml"/><Relationship Id="rId81" Type="http://schemas.openxmlformats.org/officeDocument/2006/relationships/slideLayout" Target="../slideLayouts/slideLayout33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7.xml"/><Relationship Id="rId18" Type="http://schemas.openxmlformats.org/officeDocument/2006/relationships/slideLayout" Target="../slideLayouts/slideLayout352.xml"/><Relationship Id="rId26" Type="http://schemas.openxmlformats.org/officeDocument/2006/relationships/slideLayout" Target="../slideLayouts/slideLayout360.xml"/><Relationship Id="rId39" Type="http://schemas.openxmlformats.org/officeDocument/2006/relationships/slideLayout" Target="../slideLayouts/slideLayout373.xml"/><Relationship Id="rId21" Type="http://schemas.openxmlformats.org/officeDocument/2006/relationships/slideLayout" Target="../slideLayouts/slideLayout355.xml"/><Relationship Id="rId34" Type="http://schemas.openxmlformats.org/officeDocument/2006/relationships/slideLayout" Target="../slideLayouts/slideLayout368.xml"/><Relationship Id="rId42" Type="http://schemas.openxmlformats.org/officeDocument/2006/relationships/slideLayout" Target="../slideLayouts/slideLayout376.xml"/><Relationship Id="rId47" Type="http://schemas.openxmlformats.org/officeDocument/2006/relationships/slideLayout" Target="../slideLayouts/slideLayout381.xml"/><Relationship Id="rId50" Type="http://schemas.openxmlformats.org/officeDocument/2006/relationships/slideLayout" Target="../slideLayouts/slideLayout384.xml"/><Relationship Id="rId55" Type="http://schemas.openxmlformats.org/officeDocument/2006/relationships/slideLayout" Target="../slideLayouts/slideLayout389.xml"/><Relationship Id="rId63" Type="http://schemas.openxmlformats.org/officeDocument/2006/relationships/slideLayout" Target="../slideLayouts/slideLayout397.xml"/><Relationship Id="rId68" Type="http://schemas.openxmlformats.org/officeDocument/2006/relationships/slideLayout" Target="../slideLayouts/slideLayout402.xml"/><Relationship Id="rId76" Type="http://schemas.openxmlformats.org/officeDocument/2006/relationships/slideLayout" Target="../slideLayouts/slideLayout410.xml"/><Relationship Id="rId84" Type="http://schemas.openxmlformats.org/officeDocument/2006/relationships/theme" Target="../theme/theme5.xml"/><Relationship Id="rId7" Type="http://schemas.openxmlformats.org/officeDocument/2006/relationships/slideLayout" Target="../slideLayouts/slideLayout341.xml"/><Relationship Id="rId71" Type="http://schemas.openxmlformats.org/officeDocument/2006/relationships/slideLayout" Target="../slideLayouts/slideLayout405.xml"/><Relationship Id="rId2" Type="http://schemas.openxmlformats.org/officeDocument/2006/relationships/slideLayout" Target="../slideLayouts/slideLayout336.xml"/><Relationship Id="rId16" Type="http://schemas.openxmlformats.org/officeDocument/2006/relationships/slideLayout" Target="../slideLayouts/slideLayout350.xml"/><Relationship Id="rId29" Type="http://schemas.openxmlformats.org/officeDocument/2006/relationships/slideLayout" Target="../slideLayouts/slideLayout363.xml"/><Relationship Id="rId11" Type="http://schemas.openxmlformats.org/officeDocument/2006/relationships/slideLayout" Target="../slideLayouts/slideLayout345.xml"/><Relationship Id="rId24" Type="http://schemas.openxmlformats.org/officeDocument/2006/relationships/slideLayout" Target="../slideLayouts/slideLayout358.xml"/><Relationship Id="rId32" Type="http://schemas.openxmlformats.org/officeDocument/2006/relationships/slideLayout" Target="../slideLayouts/slideLayout366.xml"/><Relationship Id="rId37" Type="http://schemas.openxmlformats.org/officeDocument/2006/relationships/slideLayout" Target="../slideLayouts/slideLayout371.xml"/><Relationship Id="rId40" Type="http://schemas.openxmlformats.org/officeDocument/2006/relationships/slideLayout" Target="../slideLayouts/slideLayout374.xml"/><Relationship Id="rId45" Type="http://schemas.openxmlformats.org/officeDocument/2006/relationships/slideLayout" Target="../slideLayouts/slideLayout379.xml"/><Relationship Id="rId53" Type="http://schemas.openxmlformats.org/officeDocument/2006/relationships/slideLayout" Target="../slideLayouts/slideLayout387.xml"/><Relationship Id="rId58" Type="http://schemas.openxmlformats.org/officeDocument/2006/relationships/slideLayout" Target="../slideLayouts/slideLayout392.xml"/><Relationship Id="rId66" Type="http://schemas.openxmlformats.org/officeDocument/2006/relationships/slideLayout" Target="../slideLayouts/slideLayout400.xml"/><Relationship Id="rId74" Type="http://schemas.openxmlformats.org/officeDocument/2006/relationships/slideLayout" Target="../slideLayouts/slideLayout408.xml"/><Relationship Id="rId79" Type="http://schemas.openxmlformats.org/officeDocument/2006/relationships/slideLayout" Target="../slideLayouts/slideLayout413.xml"/><Relationship Id="rId5" Type="http://schemas.openxmlformats.org/officeDocument/2006/relationships/slideLayout" Target="../slideLayouts/slideLayout339.xml"/><Relationship Id="rId61" Type="http://schemas.openxmlformats.org/officeDocument/2006/relationships/slideLayout" Target="../slideLayouts/slideLayout395.xml"/><Relationship Id="rId82" Type="http://schemas.openxmlformats.org/officeDocument/2006/relationships/slideLayout" Target="../slideLayouts/slideLayout416.xml"/><Relationship Id="rId10" Type="http://schemas.openxmlformats.org/officeDocument/2006/relationships/slideLayout" Target="../slideLayouts/slideLayout344.xml"/><Relationship Id="rId19" Type="http://schemas.openxmlformats.org/officeDocument/2006/relationships/slideLayout" Target="../slideLayouts/slideLayout353.xml"/><Relationship Id="rId31" Type="http://schemas.openxmlformats.org/officeDocument/2006/relationships/slideLayout" Target="../slideLayouts/slideLayout365.xml"/><Relationship Id="rId44" Type="http://schemas.openxmlformats.org/officeDocument/2006/relationships/slideLayout" Target="../slideLayouts/slideLayout378.xml"/><Relationship Id="rId52" Type="http://schemas.openxmlformats.org/officeDocument/2006/relationships/slideLayout" Target="../slideLayouts/slideLayout386.xml"/><Relationship Id="rId60" Type="http://schemas.openxmlformats.org/officeDocument/2006/relationships/slideLayout" Target="../slideLayouts/slideLayout394.xml"/><Relationship Id="rId65" Type="http://schemas.openxmlformats.org/officeDocument/2006/relationships/slideLayout" Target="../slideLayouts/slideLayout399.xml"/><Relationship Id="rId73" Type="http://schemas.openxmlformats.org/officeDocument/2006/relationships/slideLayout" Target="../slideLayouts/slideLayout407.xml"/><Relationship Id="rId78" Type="http://schemas.openxmlformats.org/officeDocument/2006/relationships/slideLayout" Target="../slideLayouts/slideLayout412.xml"/><Relationship Id="rId81" Type="http://schemas.openxmlformats.org/officeDocument/2006/relationships/slideLayout" Target="../slideLayouts/slideLayout415.xml"/><Relationship Id="rId4" Type="http://schemas.openxmlformats.org/officeDocument/2006/relationships/slideLayout" Target="../slideLayouts/slideLayout338.xml"/><Relationship Id="rId9" Type="http://schemas.openxmlformats.org/officeDocument/2006/relationships/slideLayout" Target="../slideLayouts/slideLayout343.xml"/><Relationship Id="rId14" Type="http://schemas.openxmlformats.org/officeDocument/2006/relationships/slideLayout" Target="../slideLayouts/slideLayout348.xml"/><Relationship Id="rId22" Type="http://schemas.openxmlformats.org/officeDocument/2006/relationships/slideLayout" Target="../slideLayouts/slideLayout356.xml"/><Relationship Id="rId27" Type="http://schemas.openxmlformats.org/officeDocument/2006/relationships/slideLayout" Target="../slideLayouts/slideLayout361.xml"/><Relationship Id="rId30" Type="http://schemas.openxmlformats.org/officeDocument/2006/relationships/slideLayout" Target="../slideLayouts/slideLayout364.xml"/><Relationship Id="rId35" Type="http://schemas.openxmlformats.org/officeDocument/2006/relationships/slideLayout" Target="../slideLayouts/slideLayout369.xml"/><Relationship Id="rId43" Type="http://schemas.openxmlformats.org/officeDocument/2006/relationships/slideLayout" Target="../slideLayouts/slideLayout377.xml"/><Relationship Id="rId48" Type="http://schemas.openxmlformats.org/officeDocument/2006/relationships/slideLayout" Target="../slideLayouts/slideLayout382.xml"/><Relationship Id="rId56" Type="http://schemas.openxmlformats.org/officeDocument/2006/relationships/slideLayout" Target="../slideLayouts/slideLayout390.xml"/><Relationship Id="rId64" Type="http://schemas.openxmlformats.org/officeDocument/2006/relationships/slideLayout" Target="../slideLayouts/slideLayout398.xml"/><Relationship Id="rId69" Type="http://schemas.openxmlformats.org/officeDocument/2006/relationships/slideLayout" Target="../slideLayouts/slideLayout403.xml"/><Relationship Id="rId77" Type="http://schemas.openxmlformats.org/officeDocument/2006/relationships/slideLayout" Target="../slideLayouts/slideLayout411.xml"/><Relationship Id="rId8" Type="http://schemas.openxmlformats.org/officeDocument/2006/relationships/slideLayout" Target="../slideLayouts/slideLayout342.xml"/><Relationship Id="rId51" Type="http://schemas.openxmlformats.org/officeDocument/2006/relationships/slideLayout" Target="../slideLayouts/slideLayout385.xml"/><Relationship Id="rId72" Type="http://schemas.openxmlformats.org/officeDocument/2006/relationships/slideLayout" Target="../slideLayouts/slideLayout406.xml"/><Relationship Id="rId80" Type="http://schemas.openxmlformats.org/officeDocument/2006/relationships/slideLayout" Target="../slideLayouts/slideLayout414.xml"/><Relationship Id="rId3" Type="http://schemas.openxmlformats.org/officeDocument/2006/relationships/slideLayout" Target="../slideLayouts/slideLayout337.xml"/><Relationship Id="rId12" Type="http://schemas.openxmlformats.org/officeDocument/2006/relationships/slideLayout" Target="../slideLayouts/slideLayout346.xml"/><Relationship Id="rId17" Type="http://schemas.openxmlformats.org/officeDocument/2006/relationships/slideLayout" Target="../slideLayouts/slideLayout351.xml"/><Relationship Id="rId25" Type="http://schemas.openxmlformats.org/officeDocument/2006/relationships/slideLayout" Target="../slideLayouts/slideLayout359.xml"/><Relationship Id="rId33" Type="http://schemas.openxmlformats.org/officeDocument/2006/relationships/slideLayout" Target="../slideLayouts/slideLayout367.xml"/><Relationship Id="rId38" Type="http://schemas.openxmlformats.org/officeDocument/2006/relationships/slideLayout" Target="../slideLayouts/slideLayout372.xml"/><Relationship Id="rId46" Type="http://schemas.openxmlformats.org/officeDocument/2006/relationships/slideLayout" Target="../slideLayouts/slideLayout380.xml"/><Relationship Id="rId59" Type="http://schemas.openxmlformats.org/officeDocument/2006/relationships/slideLayout" Target="../slideLayouts/slideLayout393.xml"/><Relationship Id="rId67" Type="http://schemas.openxmlformats.org/officeDocument/2006/relationships/slideLayout" Target="../slideLayouts/slideLayout401.xml"/><Relationship Id="rId20" Type="http://schemas.openxmlformats.org/officeDocument/2006/relationships/slideLayout" Target="../slideLayouts/slideLayout354.xml"/><Relationship Id="rId41" Type="http://schemas.openxmlformats.org/officeDocument/2006/relationships/slideLayout" Target="../slideLayouts/slideLayout375.xml"/><Relationship Id="rId54" Type="http://schemas.openxmlformats.org/officeDocument/2006/relationships/slideLayout" Target="../slideLayouts/slideLayout388.xml"/><Relationship Id="rId62" Type="http://schemas.openxmlformats.org/officeDocument/2006/relationships/slideLayout" Target="../slideLayouts/slideLayout396.xml"/><Relationship Id="rId70" Type="http://schemas.openxmlformats.org/officeDocument/2006/relationships/slideLayout" Target="../slideLayouts/slideLayout404.xml"/><Relationship Id="rId75" Type="http://schemas.openxmlformats.org/officeDocument/2006/relationships/slideLayout" Target="../slideLayouts/slideLayout409.xml"/><Relationship Id="rId83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335.xml"/><Relationship Id="rId6" Type="http://schemas.openxmlformats.org/officeDocument/2006/relationships/slideLayout" Target="../slideLayouts/slideLayout340.xml"/><Relationship Id="rId15" Type="http://schemas.openxmlformats.org/officeDocument/2006/relationships/slideLayout" Target="../slideLayouts/slideLayout349.xml"/><Relationship Id="rId23" Type="http://schemas.openxmlformats.org/officeDocument/2006/relationships/slideLayout" Target="../slideLayouts/slideLayout357.xml"/><Relationship Id="rId28" Type="http://schemas.openxmlformats.org/officeDocument/2006/relationships/slideLayout" Target="../slideLayouts/slideLayout362.xml"/><Relationship Id="rId36" Type="http://schemas.openxmlformats.org/officeDocument/2006/relationships/slideLayout" Target="../slideLayouts/slideLayout370.xml"/><Relationship Id="rId49" Type="http://schemas.openxmlformats.org/officeDocument/2006/relationships/slideLayout" Target="../slideLayouts/slideLayout383.xml"/><Relationship Id="rId57" Type="http://schemas.openxmlformats.org/officeDocument/2006/relationships/slideLayout" Target="../slideLayouts/slideLayout391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0.xml"/><Relationship Id="rId18" Type="http://schemas.openxmlformats.org/officeDocument/2006/relationships/slideLayout" Target="../slideLayouts/slideLayout435.xml"/><Relationship Id="rId26" Type="http://schemas.openxmlformats.org/officeDocument/2006/relationships/slideLayout" Target="../slideLayouts/slideLayout443.xml"/><Relationship Id="rId39" Type="http://schemas.openxmlformats.org/officeDocument/2006/relationships/slideLayout" Target="../slideLayouts/slideLayout456.xml"/><Relationship Id="rId21" Type="http://schemas.openxmlformats.org/officeDocument/2006/relationships/slideLayout" Target="../slideLayouts/slideLayout438.xml"/><Relationship Id="rId34" Type="http://schemas.openxmlformats.org/officeDocument/2006/relationships/slideLayout" Target="../slideLayouts/slideLayout451.xml"/><Relationship Id="rId42" Type="http://schemas.openxmlformats.org/officeDocument/2006/relationships/slideLayout" Target="../slideLayouts/slideLayout459.xml"/><Relationship Id="rId47" Type="http://schemas.openxmlformats.org/officeDocument/2006/relationships/slideLayout" Target="../slideLayouts/slideLayout464.xml"/><Relationship Id="rId50" Type="http://schemas.openxmlformats.org/officeDocument/2006/relationships/slideLayout" Target="../slideLayouts/slideLayout467.xml"/><Relationship Id="rId55" Type="http://schemas.openxmlformats.org/officeDocument/2006/relationships/slideLayout" Target="../slideLayouts/slideLayout472.xml"/><Relationship Id="rId63" Type="http://schemas.openxmlformats.org/officeDocument/2006/relationships/slideLayout" Target="../slideLayouts/slideLayout480.xml"/><Relationship Id="rId68" Type="http://schemas.openxmlformats.org/officeDocument/2006/relationships/slideLayout" Target="../slideLayouts/slideLayout485.xml"/><Relationship Id="rId76" Type="http://schemas.openxmlformats.org/officeDocument/2006/relationships/slideLayout" Target="../slideLayouts/slideLayout493.xml"/><Relationship Id="rId84" Type="http://schemas.openxmlformats.org/officeDocument/2006/relationships/theme" Target="../theme/theme6.xml"/><Relationship Id="rId7" Type="http://schemas.openxmlformats.org/officeDocument/2006/relationships/slideLayout" Target="../slideLayouts/slideLayout424.xml"/><Relationship Id="rId71" Type="http://schemas.openxmlformats.org/officeDocument/2006/relationships/slideLayout" Target="../slideLayouts/slideLayout488.xml"/><Relationship Id="rId2" Type="http://schemas.openxmlformats.org/officeDocument/2006/relationships/slideLayout" Target="../slideLayouts/slideLayout419.xml"/><Relationship Id="rId16" Type="http://schemas.openxmlformats.org/officeDocument/2006/relationships/slideLayout" Target="../slideLayouts/slideLayout433.xml"/><Relationship Id="rId29" Type="http://schemas.openxmlformats.org/officeDocument/2006/relationships/slideLayout" Target="../slideLayouts/slideLayout446.xml"/><Relationship Id="rId11" Type="http://schemas.openxmlformats.org/officeDocument/2006/relationships/slideLayout" Target="../slideLayouts/slideLayout428.xml"/><Relationship Id="rId24" Type="http://schemas.openxmlformats.org/officeDocument/2006/relationships/slideLayout" Target="../slideLayouts/slideLayout441.xml"/><Relationship Id="rId32" Type="http://schemas.openxmlformats.org/officeDocument/2006/relationships/slideLayout" Target="../slideLayouts/slideLayout449.xml"/><Relationship Id="rId37" Type="http://schemas.openxmlformats.org/officeDocument/2006/relationships/slideLayout" Target="../slideLayouts/slideLayout454.xml"/><Relationship Id="rId40" Type="http://schemas.openxmlformats.org/officeDocument/2006/relationships/slideLayout" Target="../slideLayouts/slideLayout457.xml"/><Relationship Id="rId45" Type="http://schemas.openxmlformats.org/officeDocument/2006/relationships/slideLayout" Target="../slideLayouts/slideLayout462.xml"/><Relationship Id="rId53" Type="http://schemas.openxmlformats.org/officeDocument/2006/relationships/slideLayout" Target="../slideLayouts/slideLayout470.xml"/><Relationship Id="rId58" Type="http://schemas.openxmlformats.org/officeDocument/2006/relationships/slideLayout" Target="../slideLayouts/slideLayout475.xml"/><Relationship Id="rId66" Type="http://schemas.openxmlformats.org/officeDocument/2006/relationships/slideLayout" Target="../slideLayouts/slideLayout483.xml"/><Relationship Id="rId74" Type="http://schemas.openxmlformats.org/officeDocument/2006/relationships/slideLayout" Target="../slideLayouts/slideLayout491.xml"/><Relationship Id="rId79" Type="http://schemas.openxmlformats.org/officeDocument/2006/relationships/slideLayout" Target="../slideLayouts/slideLayout496.xml"/><Relationship Id="rId5" Type="http://schemas.openxmlformats.org/officeDocument/2006/relationships/slideLayout" Target="../slideLayouts/slideLayout422.xml"/><Relationship Id="rId61" Type="http://schemas.openxmlformats.org/officeDocument/2006/relationships/slideLayout" Target="../slideLayouts/slideLayout478.xml"/><Relationship Id="rId82" Type="http://schemas.openxmlformats.org/officeDocument/2006/relationships/slideLayout" Target="../slideLayouts/slideLayout499.xml"/><Relationship Id="rId10" Type="http://schemas.openxmlformats.org/officeDocument/2006/relationships/slideLayout" Target="../slideLayouts/slideLayout427.xml"/><Relationship Id="rId19" Type="http://schemas.openxmlformats.org/officeDocument/2006/relationships/slideLayout" Target="../slideLayouts/slideLayout436.xml"/><Relationship Id="rId31" Type="http://schemas.openxmlformats.org/officeDocument/2006/relationships/slideLayout" Target="../slideLayouts/slideLayout448.xml"/><Relationship Id="rId44" Type="http://schemas.openxmlformats.org/officeDocument/2006/relationships/slideLayout" Target="../slideLayouts/slideLayout461.xml"/><Relationship Id="rId52" Type="http://schemas.openxmlformats.org/officeDocument/2006/relationships/slideLayout" Target="../slideLayouts/slideLayout469.xml"/><Relationship Id="rId60" Type="http://schemas.openxmlformats.org/officeDocument/2006/relationships/slideLayout" Target="../slideLayouts/slideLayout477.xml"/><Relationship Id="rId65" Type="http://schemas.openxmlformats.org/officeDocument/2006/relationships/slideLayout" Target="../slideLayouts/slideLayout482.xml"/><Relationship Id="rId73" Type="http://schemas.openxmlformats.org/officeDocument/2006/relationships/slideLayout" Target="../slideLayouts/slideLayout490.xml"/><Relationship Id="rId78" Type="http://schemas.openxmlformats.org/officeDocument/2006/relationships/slideLayout" Target="../slideLayouts/slideLayout495.xml"/><Relationship Id="rId81" Type="http://schemas.openxmlformats.org/officeDocument/2006/relationships/slideLayout" Target="../slideLayouts/slideLayout498.xml"/><Relationship Id="rId4" Type="http://schemas.openxmlformats.org/officeDocument/2006/relationships/slideLayout" Target="../slideLayouts/slideLayout421.xml"/><Relationship Id="rId9" Type="http://schemas.openxmlformats.org/officeDocument/2006/relationships/slideLayout" Target="../slideLayouts/slideLayout426.xml"/><Relationship Id="rId14" Type="http://schemas.openxmlformats.org/officeDocument/2006/relationships/slideLayout" Target="../slideLayouts/slideLayout431.xml"/><Relationship Id="rId22" Type="http://schemas.openxmlformats.org/officeDocument/2006/relationships/slideLayout" Target="../slideLayouts/slideLayout439.xml"/><Relationship Id="rId27" Type="http://schemas.openxmlformats.org/officeDocument/2006/relationships/slideLayout" Target="../slideLayouts/slideLayout444.xml"/><Relationship Id="rId30" Type="http://schemas.openxmlformats.org/officeDocument/2006/relationships/slideLayout" Target="../slideLayouts/slideLayout447.xml"/><Relationship Id="rId35" Type="http://schemas.openxmlformats.org/officeDocument/2006/relationships/slideLayout" Target="../slideLayouts/slideLayout452.xml"/><Relationship Id="rId43" Type="http://schemas.openxmlformats.org/officeDocument/2006/relationships/slideLayout" Target="../slideLayouts/slideLayout460.xml"/><Relationship Id="rId48" Type="http://schemas.openxmlformats.org/officeDocument/2006/relationships/slideLayout" Target="../slideLayouts/slideLayout465.xml"/><Relationship Id="rId56" Type="http://schemas.openxmlformats.org/officeDocument/2006/relationships/slideLayout" Target="../slideLayouts/slideLayout473.xml"/><Relationship Id="rId64" Type="http://schemas.openxmlformats.org/officeDocument/2006/relationships/slideLayout" Target="../slideLayouts/slideLayout481.xml"/><Relationship Id="rId69" Type="http://schemas.openxmlformats.org/officeDocument/2006/relationships/slideLayout" Target="../slideLayouts/slideLayout486.xml"/><Relationship Id="rId77" Type="http://schemas.openxmlformats.org/officeDocument/2006/relationships/slideLayout" Target="../slideLayouts/slideLayout494.xml"/><Relationship Id="rId8" Type="http://schemas.openxmlformats.org/officeDocument/2006/relationships/slideLayout" Target="../slideLayouts/slideLayout425.xml"/><Relationship Id="rId51" Type="http://schemas.openxmlformats.org/officeDocument/2006/relationships/slideLayout" Target="../slideLayouts/slideLayout468.xml"/><Relationship Id="rId72" Type="http://schemas.openxmlformats.org/officeDocument/2006/relationships/slideLayout" Target="../slideLayouts/slideLayout489.xml"/><Relationship Id="rId80" Type="http://schemas.openxmlformats.org/officeDocument/2006/relationships/slideLayout" Target="../slideLayouts/slideLayout497.xml"/><Relationship Id="rId3" Type="http://schemas.openxmlformats.org/officeDocument/2006/relationships/slideLayout" Target="../slideLayouts/slideLayout420.xml"/><Relationship Id="rId12" Type="http://schemas.openxmlformats.org/officeDocument/2006/relationships/slideLayout" Target="../slideLayouts/slideLayout429.xml"/><Relationship Id="rId17" Type="http://schemas.openxmlformats.org/officeDocument/2006/relationships/slideLayout" Target="../slideLayouts/slideLayout434.xml"/><Relationship Id="rId25" Type="http://schemas.openxmlformats.org/officeDocument/2006/relationships/slideLayout" Target="../slideLayouts/slideLayout442.xml"/><Relationship Id="rId33" Type="http://schemas.openxmlformats.org/officeDocument/2006/relationships/slideLayout" Target="../slideLayouts/slideLayout450.xml"/><Relationship Id="rId38" Type="http://schemas.openxmlformats.org/officeDocument/2006/relationships/slideLayout" Target="../slideLayouts/slideLayout455.xml"/><Relationship Id="rId46" Type="http://schemas.openxmlformats.org/officeDocument/2006/relationships/slideLayout" Target="../slideLayouts/slideLayout463.xml"/><Relationship Id="rId59" Type="http://schemas.openxmlformats.org/officeDocument/2006/relationships/slideLayout" Target="../slideLayouts/slideLayout476.xml"/><Relationship Id="rId67" Type="http://schemas.openxmlformats.org/officeDocument/2006/relationships/slideLayout" Target="../slideLayouts/slideLayout484.xml"/><Relationship Id="rId20" Type="http://schemas.openxmlformats.org/officeDocument/2006/relationships/slideLayout" Target="../slideLayouts/slideLayout437.xml"/><Relationship Id="rId41" Type="http://schemas.openxmlformats.org/officeDocument/2006/relationships/slideLayout" Target="../slideLayouts/slideLayout458.xml"/><Relationship Id="rId54" Type="http://schemas.openxmlformats.org/officeDocument/2006/relationships/slideLayout" Target="../slideLayouts/slideLayout471.xml"/><Relationship Id="rId62" Type="http://schemas.openxmlformats.org/officeDocument/2006/relationships/slideLayout" Target="../slideLayouts/slideLayout479.xml"/><Relationship Id="rId70" Type="http://schemas.openxmlformats.org/officeDocument/2006/relationships/slideLayout" Target="../slideLayouts/slideLayout487.xml"/><Relationship Id="rId75" Type="http://schemas.openxmlformats.org/officeDocument/2006/relationships/slideLayout" Target="../slideLayouts/slideLayout492.xml"/><Relationship Id="rId83" Type="http://schemas.openxmlformats.org/officeDocument/2006/relationships/slideLayout" Target="../slideLayouts/slideLayout500.xml"/><Relationship Id="rId1" Type="http://schemas.openxmlformats.org/officeDocument/2006/relationships/slideLayout" Target="../slideLayouts/slideLayout418.xml"/><Relationship Id="rId6" Type="http://schemas.openxmlformats.org/officeDocument/2006/relationships/slideLayout" Target="../slideLayouts/slideLayout423.xml"/><Relationship Id="rId15" Type="http://schemas.openxmlformats.org/officeDocument/2006/relationships/slideLayout" Target="../slideLayouts/slideLayout432.xml"/><Relationship Id="rId23" Type="http://schemas.openxmlformats.org/officeDocument/2006/relationships/slideLayout" Target="../slideLayouts/slideLayout440.xml"/><Relationship Id="rId28" Type="http://schemas.openxmlformats.org/officeDocument/2006/relationships/slideLayout" Target="../slideLayouts/slideLayout445.xml"/><Relationship Id="rId36" Type="http://schemas.openxmlformats.org/officeDocument/2006/relationships/slideLayout" Target="../slideLayouts/slideLayout453.xml"/><Relationship Id="rId49" Type="http://schemas.openxmlformats.org/officeDocument/2006/relationships/slideLayout" Target="../slideLayouts/slideLayout466.xml"/><Relationship Id="rId57" Type="http://schemas.openxmlformats.org/officeDocument/2006/relationships/slideLayout" Target="../slideLayouts/slideLayout474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3.xml"/><Relationship Id="rId18" Type="http://schemas.openxmlformats.org/officeDocument/2006/relationships/slideLayout" Target="../slideLayouts/slideLayout518.xml"/><Relationship Id="rId26" Type="http://schemas.openxmlformats.org/officeDocument/2006/relationships/slideLayout" Target="../slideLayouts/slideLayout526.xml"/><Relationship Id="rId39" Type="http://schemas.openxmlformats.org/officeDocument/2006/relationships/slideLayout" Target="../slideLayouts/slideLayout539.xml"/><Relationship Id="rId21" Type="http://schemas.openxmlformats.org/officeDocument/2006/relationships/slideLayout" Target="../slideLayouts/slideLayout521.xml"/><Relationship Id="rId34" Type="http://schemas.openxmlformats.org/officeDocument/2006/relationships/slideLayout" Target="../slideLayouts/slideLayout534.xml"/><Relationship Id="rId42" Type="http://schemas.openxmlformats.org/officeDocument/2006/relationships/slideLayout" Target="../slideLayouts/slideLayout542.xml"/><Relationship Id="rId47" Type="http://schemas.openxmlformats.org/officeDocument/2006/relationships/slideLayout" Target="../slideLayouts/slideLayout547.xml"/><Relationship Id="rId50" Type="http://schemas.openxmlformats.org/officeDocument/2006/relationships/slideLayout" Target="../slideLayouts/slideLayout550.xml"/><Relationship Id="rId55" Type="http://schemas.openxmlformats.org/officeDocument/2006/relationships/slideLayout" Target="../slideLayouts/slideLayout555.xml"/><Relationship Id="rId63" Type="http://schemas.openxmlformats.org/officeDocument/2006/relationships/slideLayout" Target="../slideLayouts/slideLayout563.xml"/><Relationship Id="rId68" Type="http://schemas.openxmlformats.org/officeDocument/2006/relationships/slideLayout" Target="../slideLayouts/slideLayout568.xml"/><Relationship Id="rId76" Type="http://schemas.openxmlformats.org/officeDocument/2006/relationships/slideLayout" Target="../slideLayouts/slideLayout576.xml"/><Relationship Id="rId84" Type="http://schemas.openxmlformats.org/officeDocument/2006/relationships/slideLayout" Target="../slideLayouts/slideLayout584.xml"/><Relationship Id="rId7" Type="http://schemas.openxmlformats.org/officeDocument/2006/relationships/slideLayout" Target="../slideLayouts/slideLayout507.xml"/><Relationship Id="rId71" Type="http://schemas.openxmlformats.org/officeDocument/2006/relationships/slideLayout" Target="../slideLayouts/slideLayout571.xml"/><Relationship Id="rId2" Type="http://schemas.openxmlformats.org/officeDocument/2006/relationships/slideLayout" Target="../slideLayouts/slideLayout502.xml"/><Relationship Id="rId16" Type="http://schemas.openxmlformats.org/officeDocument/2006/relationships/slideLayout" Target="../slideLayouts/slideLayout516.xml"/><Relationship Id="rId29" Type="http://schemas.openxmlformats.org/officeDocument/2006/relationships/slideLayout" Target="../slideLayouts/slideLayout529.xml"/><Relationship Id="rId11" Type="http://schemas.openxmlformats.org/officeDocument/2006/relationships/slideLayout" Target="../slideLayouts/slideLayout511.xml"/><Relationship Id="rId24" Type="http://schemas.openxmlformats.org/officeDocument/2006/relationships/slideLayout" Target="../slideLayouts/slideLayout524.xml"/><Relationship Id="rId32" Type="http://schemas.openxmlformats.org/officeDocument/2006/relationships/slideLayout" Target="../slideLayouts/slideLayout532.xml"/><Relationship Id="rId37" Type="http://schemas.openxmlformats.org/officeDocument/2006/relationships/slideLayout" Target="../slideLayouts/slideLayout537.xml"/><Relationship Id="rId40" Type="http://schemas.openxmlformats.org/officeDocument/2006/relationships/slideLayout" Target="../slideLayouts/slideLayout540.xml"/><Relationship Id="rId45" Type="http://schemas.openxmlformats.org/officeDocument/2006/relationships/slideLayout" Target="../slideLayouts/slideLayout545.xml"/><Relationship Id="rId53" Type="http://schemas.openxmlformats.org/officeDocument/2006/relationships/slideLayout" Target="../slideLayouts/slideLayout553.xml"/><Relationship Id="rId58" Type="http://schemas.openxmlformats.org/officeDocument/2006/relationships/slideLayout" Target="../slideLayouts/slideLayout558.xml"/><Relationship Id="rId66" Type="http://schemas.openxmlformats.org/officeDocument/2006/relationships/slideLayout" Target="../slideLayouts/slideLayout566.xml"/><Relationship Id="rId74" Type="http://schemas.openxmlformats.org/officeDocument/2006/relationships/slideLayout" Target="../slideLayouts/slideLayout574.xml"/><Relationship Id="rId79" Type="http://schemas.openxmlformats.org/officeDocument/2006/relationships/slideLayout" Target="../slideLayouts/slideLayout579.xml"/><Relationship Id="rId5" Type="http://schemas.openxmlformats.org/officeDocument/2006/relationships/slideLayout" Target="../slideLayouts/slideLayout505.xml"/><Relationship Id="rId61" Type="http://schemas.openxmlformats.org/officeDocument/2006/relationships/slideLayout" Target="../slideLayouts/slideLayout561.xml"/><Relationship Id="rId82" Type="http://schemas.openxmlformats.org/officeDocument/2006/relationships/slideLayout" Target="../slideLayouts/slideLayout582.xml"/><Relationship Id="rId19" Type="http://schemas.openxmlformats.org/officeDocument/2006/relationships/slideLayout" Target="../slideLayouts/slideLayout519.xml"/><Relationship Id="rId4" Type="http://schemas.openxmlformats.org/officeDocument/2006/relationships/slideLayout" Target="../slideLayouts/slideLayout504.xml"/><Relationship Id="rId9" Type="http://schemas.openxmlformats.org/officeDocument/2006/relationships/slideLayout" Target="../slideLayouts/slideLayout509.xml"/><Relationship Id="rId14" Type="http://schemas.openxmlformats.org/officeDocument/2006/relationships/slideLayout" Target="../slideLayouts/slideLayout514.xml"/><Relationship Id="rId22" Type="http://schemas.openxmlformats.org/officeDocument/2006/relationships/slideLayout" Target="../slideLayouts/slideLayout522.xml"/><Relationship Id="rId27" Type="http://schemas.openxmlformats.org/officeDocument/2006/relationships/slideLayout" Target="../slideLayouts/slideLayout527.xml"/><Relationship Id="rId30" Type="http://schemas.openxmlformats.org/officeDocument/2006/relationships/slideLayout" Target="../slideLayouts/slideLayout530.xml"/><Relationship Id="rId35" Type="http://schemas.openxmlformats.org/officeDocument/2006/relationships/slideLayout" Target="../slideLayouts/slideLayout535.xml"/><Relationship Id="rId43" Type="http://schemas.openxmlformats.org/officeDocument/2006/relationships/slideLayout" Target="../slideLayouts/slideLayout543.xml"/><Relationship Id="rId48" Type="http://schemas.openxmlformats.org/officeDocument/2006/relationships/slideLayout" Target="../slideLayouts/slideLayout548.xml"/><Relationship Id="rId56" Type="http://schemas.openxmlformats.org/officeDocument/2006/relationships/slideLayout" Target="../slideLayouts/slideLayout556.xml"/><Relationship Id="rId64" Type="http://schemas.openxmlformats.org/officeDocument/2006/relationships/slideLayout" Target="../slideLayouts/slideLayout564.xml"/><Relationship Id="rId69" Type="http://schemas.openxmlformats.org/officeDocument/2006/relationships/slideLayout" Target="../slideLayouts/slideLayout569.xml"/><Relationship Id="rId77" Type="http://schemas.openxmlformats.org/officeDocument/2006/relationships/slideLayout" Target="../slideLayouts/slideLayout577.xml"/><Relationship Id="rId8" Type="http://schemas.openxmlformats.org/officeDocument/2006/relationships/slideLayout" Target="../slideLayouts/slideLayout508.xml"/><Relationship Id="rId51" Type="http://schemas.openxmlformats.org/officeDocument/2006/relationships/slideLayout" Target="../slideLayouts/slideLayout551.xml"/><Relationship Id="rId72" Type="http://schemas.openxmlformats.org/officeDocument/2006/relationships/slideLayout" Target="../slideLayouts/slideLayout572.xml"/><Relationship Id="rId80" Type="http://schemas.openxmlformats.org/officeDocument/2006/relationships/slideLayout" Target="../slideLayouts/slideLayout580.xml"/><Relationship Id="rId85" Type="http://schemas.openxmlformats.org/officeDocument/2006/relationships/slideLayout" Target="../slideLayouts/slideLayout585.xml"/><Relationship Id="rId3" Type="http://schemas.openxmlformats.org/officeDocument/2006/relationships/slideLayout" Target="../slideLayouts/slideLayout503.xml"/><Relationship Id="rId12" Type="http://schemas.openxmlformats.org/officeDocument/2006/relationships/slideLayout" Target="../slideLayouts/slideLayout512.xml"/><Relationship Id="rId17" Type="http://schemas.openxmlformats.org/officeDocument/2006/relationships/slideLayout" Target="../slideLayouts/slideLayout517.xml"/><Relationship Id="rId25" Type="http://schemas.openxmlformats.org/officeDocument/2006/relationships/slideLayout" Target="../slideLayouts/slideLayout525.xml"/><Relationship Id="rId33" Type="http://schemas.openxmlformats.org/officeDocument/2006/relationships/slideLayout" Target="../slideLayouts/slideLayout533.xml"/><Relationship Id="rId38" Type="http://schemas.openxmlformats.org/officeDocument/2006/relationships/slideLayout" Target="../slideLayouts/slideLayout538.xml"/><Relationship Id="rId46" Type="http://schemas.openxmlformats.org/officeDocument/2006/relationships/slideLayout" Target="../slideLayouts/slideLayout546.xml"/><Relationship Id="rId59" Type="http://schemas.openxmlformats.org/officeDocument/2006/relationships/slideLayout" Target="../slideLayouts/slideLayout559.xml"/><Relationship Id="rId67" Type="http://schemas.openxmlformats.org/officeDocument/2006/relationships/slideLayout" Target="../slideLayouts/slideLayout567.xml"/><Relationship Id="rId20" Type="http://schemas.openxmlformats.org/officeDocument/2006/relationships/slideLayout" Target="../slideLayouts/slideLayout520.xml"/><Relationship Id="rId41" Type="http://schemas.openxmlformats.org/officeDocument/2006/relationships/slideLayout" Target="../slideLayouts/slideLayout541.xml"/><Relationship Id="rId54" Type="http://schemas.openxmlformats.org/officeDocument/2006/relationships/slideLayout" Target="../slideLayouts/slideLayout554.xml"/><Relationship Id="rId62" Type="http://schemas.openxmlformats.org/officeDocument/2006/relationships/slideLayout" Target="../slideLayouts/slideLayout562.xml"/><Relationship Id="rId70" Type="http://schemas.openxmlformats.org/officeDocument/2006/relationships/slideLayout" Target="../slideLayouts/slideLayout570.xml"/><Relationship Id="rId75" Type="http://schemas.openxmlformats.org/officeDocument/2006/relationships/slideLayout" Target="../slideLayouts/slideLayout575.xml"/><Relationship Id="rId83" Type="http://schemas.openxmlformats.org/officeDocument/2006/relationships/slideLayout" Target="../slideLayouts/slideLayout583.xml"/><Relationship Id="rId1" Type="http://schemas.openxmlformats.org/officeDocument/2006/relationships/slideLayout" Target="../slideLayouts/slideLayout501.xml"/><Relationship Id="rId6" Type="http://schemas.openxmlformats.org/officeDocument/2006/relationships/slideLayout" Target="../slideLayouts/slideLayout506.xml"/><Relationship Id="rId15" Type="http://schemas.openxmlformats.org/officeDocument/2006/relationships/slideLayout" Target="../slideLayouts/slideLayout515.xml"/><Relationship Id="rId23" Type="http://schemas.openxmlformats.org/officeDocument/2006/relationships/slideLayout" Target="../slideLayouts/slideLayout523.xml"/><Relationship Id="rId28" Type="http://schemas.openxmlformats.org/officeDocument/2006/relationships/slideLayout" Target="../slideLayouts/slideLayout528.xml"/><Relationship Id="rId36" Type="http://schemas.openxmlformats.org/officeDocument/2006/relationships/slideLayout" Target="../slideLayouts/slideLayout536.xml"/><Relationship Id="rId49" Type="http://schemas.openxmlformats.org/officeDocument/2006/relationships/slideLayout" Target="../slideLayouts/slideLayout549.xml"/><Relationship Id="rId57" Type="http://schemas.openxmlformats.org/officeDocument/2006/relationships/slideLayout" Target="../slideLayouts/slideLayout557.xml"/><Relationship Id="rId10" Type="http://schemas.openxmlformats.org/officeDocument/2006/relationships/slideLayout" Target="../slideLayouts/slideLayout510.xml"/><Relationship Id="rId31" Type="http://schemas.openxmlformats.org/officeDocument/2006/relationships/slideLayout" Target="../slideLayouts/slideLayout531.xml"/><Relationship Id="rId44" Type="http://schemas.openxmlformats.org/officeDocument/2006/relationships/slideLayout" Target="../slideLayouts/slideLayout544.xml"/><Relationship Id="rId52" Type="http://schemas.openxmlformats.org/officeDocument/2006/relationships/slideLayout" Target="../slideLayouts/slideLayout552.xml"/><Relationship Id="rId60" Type="http://schemas.openxmlformats.org/officeDocument/2006/relationships/slideLayout" Target="../slideLayouts/slideLayout560.xml"/><Relationship Id="rId65" Type="http://schemas.openxmlformats.org/officeDocument/2006/relationships/slideLayout" Target="../slideLayouts/slideLayout565.xml"/><Relationship Id="rId73" Type="http://schemas.openxmlformats.org/officeDocument/2006/relationships/slideLayout" Target="../slideLayouts/slideLayout573.xml"/><Relationship Id="rId78" Type="http://schemas.openxmlformats.org/officeDocument/2006/relationships/slideLayout" Target="../slideLayouts/slideLayout578.xml"/><Relationship Id="rId81" Type="http://schemas.openxmlformats.org/officeDocument/2006/relationships/slideLayout" Target="../slideLayouts/slideLayout581.xml"/><Relationship Id="rId86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7" y="161925"/>
            <a:ext cx="652760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08133"/>
            <a:ext cx="8689975" cy="461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auto">
          <a:xfrm>
            <a:off x="8752175" y="159055"/>
            <a:ext cx="431512" cy="22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A52FFA22-B43C-49B8-9E95-CCE8944705E2}" type="slidenum">
              <a:rPr lang="en-US" sz="14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en-US" sz="1400" dirty="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en-US" sz="1400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82" r:id="rId1"/>
    <p:sldLayoutId id="2147484283" r:id="rId2"/>
    <p:sldLayoutId id="2147484284" r:id="rId3"/>
    <p:sldLayoutId id="2147484285" r:id="rId4"/>
    <p:sldLayoutId id="2147484286" r:id="rId5"/>
    <p:sldLayoutId id="2147484287" r:id="rId6"/>
    <p:sldLayoutId id="2147484288" r:id="rId7"/>
    <p:sldLayoutId id="2147484289" r:id="rId8"/>
    <p:sldLayoutId id="2147484290" r:id="rId9"/>
    <p:sldLayoutId id="2147484291" r:id="rId10"/>
    <p:sldLayoutId id="2147484292" r:id="rId11"/>
    <p:sldLayoutId id="2147484293" r:id="rId12"/>
    <p:sldLayoutId id="2147484294" r:id="rId13"/>
    <p:sldLayoutId id="2147484295" r:id="rId14"/>
    <p:sldLayoutId id="2147484296" r:id="rId15"/>
    <p:sldLayoutId id="2147484297" r:id="rId16"/>
    <p:sldLayoutId id="2147484298" r:id="rId17"/>
    <p:sldLayoutId id="2147484299" r:id="rId18"/>
    <p:sldLayoutId id="2147484300" r:id="rId19"/>
    <p:sldLayoutId id="2147484301" r:id="rId20"/>
    <p:sldLayoutId id="2147484302" r:id="rId21"/>
    <p:sldLayoutId id="2147484303" r:id="rId22"/>
    <p:sldLayoutId id="2147484304" r:id="rId23"/>
    <p:sldLayoutId id="2147484305" r:id="rId24"/>
    <p:sldLayoutId id="2147484306" r:id="rId25"/>
    <p:sldLayoutId id="2147484307" r:id="rId26"/>
    <p:sldLayoutId id="2147484308" r:id="rId27"/>
    <p:sldLayoutId id="2147484309" r:id="rId28"/>
    <p:sldLayoutId id="2147484310" r:id="rId29"/>
    <p:sldLayoutId id="2147484311" r:id="rId30"/>
    <p:sldLayoutId id="2147484312" r:id="rId31"/>
    <p:sldLayoutId id="2147484313" r:id="rId32"/>
    <p:sldLayoutId id="2147484314" r:id="rId33"/>
    <p:sldLayoutId id="2147484315" r:id="rId34"/>
    <p:sldLayoutId id="2147484316" r:id="rId35"/>
    <p:sldLayoutId id="2147484317" r:id="rId36"/>
    <p:sldLayoutId id="2147484318" r:id="rId37"/>
    <p:sldLayoutId id="2147484319" r:id="rId38"/>
    <p:sldLayoutId id="2147484320" r:id="rId39"/>
    <p:sldLayoutId id="2147484321" r:id="rId40"/>
    <p:sldLayoutId id="2147484322" r:id="rId41"/>
    <p:sldLayoutId id="2147484323" r:id="rId42"/>
    <p:sldLayoutId id="2147484324" r:id="rId43"/>
    <p:sldLayoutId id="2147484325" r:id="rId44"/>
    <p:sldLayoutId id="2147484099" r:id="rId45"/>
    <p:sldLayoutId id="2147484127" r:id="rId46"/>
    <p:sldLayoutId id="2147484128" r:id="rId47"/>
    <p:sldLayoutId id="2147484104" r:id="rId48"/>
    <p:sldLayoutId id="2147484105" r:id="rId49"/>
    <p:sldLayoutId id="2147484129" r:id="rId50"/>
    <p:sldLayoutId id="2147484106" r:id="rId51"/>
    <p:sldLayoutId id="2147484130" r:id="rId52"/>
    <p:sldLayoutId id="2147484107" r:id="rId53"/>
    <p:sldLayoutId id="2147484108" r:id="rId54"/>
    <p:sldLayoutId id="2147484131" r:id="rId55"/>
    <p:sldLayoutId id="2147484109" r:id="rId56"/>
    <p:sldLayoutId id="2147484110" r:id="rId57"/>
    <p:sldLayoutId id="2147484132" r:id="rId58"/>
    <p:sldLayoutId id="2147484111" r:id="rId59"/>
    <p:sldLayoutId id="2147484133" r:id="rId60"/>
    <p:sldLayoutId id="2147484134" r:id="rId61"/>
    <p:sldLayoutId id="2147484112" r:id="rId62"/>
    <p:sldLayoutId id="2147484113" r:id="rId63"/>
    <p:sldLayoutId id="2147484114" r:id="rId64"/>
    <p:sldLayoutId id="2147484135" r:id="rId65"/>
    <p:sldLayoutId id="2147484136" r:id="rId66"/>
    <p:sldLayoutId id="2147484115" r:id="rId67"/>
    <p:sldLayoutId id="2147484116" r:id="rId68"/>
    <p:sldLayoutId id="2147484117" r:id="rId69"/>
    <p:sldLayoutId id="2147484137" r:id="rId70"/>
    <p:sldLayoutId id="2147484138" r:id="rId71"/>
    <p:sldLayoutId id="2147484118" r:id="rId72"/>
    <p:sldLayoutId id="2147484119" r:id="rId73"/>
    <p:sldLayoutId id="2147484139" r:id="rId74"/>
    <p:sldLayoutId id="2147484120" r:id="rId75"/>
    <p:sldLayoutId id="2147484140" r:id="rId76"/>
    <p:sldLayoutId id="2147484121" r:id="rId77"/>
    <p:sldLayoutId id="2147484122" r:id="rId78"/>
    <p:sldLayoutId id="2147484141" r:id="rId79"/>
    <p:sldLayoutId id="2147484123" r:id="rId80"/>
    <p:sldLayoutId id="2147484124" r:id="rId81"/>
    <p:sldLayoutId id="2147484142" r:id="rId82"/>
    <p:sldLayoutId id="2147484125" r:id="rId83"/>
    <p:sldLayoutId id="2147484126" r:id="rId8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400" b="1" kern="1200">
          <a:solidFill>
            <a:srgbClr val="59595C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b="1" kern="1200">
          <a:solidFill>
            <a:srgbClr val="59595C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3pPr>
      <a:lvl4pPr marL="1376363" indent="-231775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7" y="161925"/>
            <a:ext cx="652760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08133"/>
            <a:ext cx="8689975" cy="461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auto">
          <a:xfrm>
            <a:off x="8752175" y="159039"/>
            <a:ext cx="431512" cy="22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A52FFA22-B43C-49B8-9E95-CCE8944705E2}" type="slidenum">
              <a:rPr lang="en-US" sz="14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en-US" sz="1400" dirty="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en-US" sz="14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7966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7" r:id="rId1"/>
    <p:sldLayoutId id="2147485038" r:id="rId2"/>
    <p:sldLayoutId id="2147485039" r:id="rId3"/>
    <p:sldLayoutId id="2147485040" r:id="rId4"/>
    <p:sldLayoutId id="2147485041" r:id="rId5"/>
    <p:sldLayoutId id="2147485042" r:id="rId6"/>
    <p:sldLayoutId id="2147485043" r:id="rId7"/>
    <p:sldLayoutId id="2147485044" r:id="rId8"/>
    <p:sldLayoutId id="2147485045" r:id="rId9"/>
    <p:sldLayoutId id="2147485046" r:id="rId10"/>
    <p:sldLayoutId id="2147485047" r:id="rId11"/>
    <p:sldLayoutId id="2147485048" r:id="rId12"/>
    <p:sldLayoutId id="2147485049" r:id="rId13"/>
    <p:sldLayoutId id="2147485050" r:id="rId14"/>
    <p:sldLayoutId id="2147485051" r:id="rId15"/>
    <p:sldLayoutId id="2147485052" r:id="rId16"/>
    <p:sldLayoutId id="2147485053" r:id="rId17"/>
    <p:sldLayoutId id="2147485054" r:id="rId18"/>
    <p:sldLayoutId id="2147485055" r:id="rId19"/>
    <p:sldLayoutId id="2147485056" r:id="rId20"/>
    <p:sldLayoutId id="2147485057" r:id="rId21"/>
    <p:sldLayoutId id="2147485058" r:id="rId22"/>
    <p:sldLayoutId id="2147485059" r:id="rId23"/>
    <p:sldLayoutId id="2147485060" r:id="rId24"/>
    <p:sldLayoutId id="2147485061" r:id="rId25"/>
    <p:sldLayoutId id="2147485062" r:id="rId26"/>
    <p:sldLayoutId id="2147485063" r:id="rId27"/>
    <p:sldLayoutId id="2147485064" r:id="rId28"/>
    <p:sldLayoutId id="2147485065" r:id="rId29"/>
    <p:sldLayoutId id="2147485066" r:id="rId30"/>
    <p:sldLayoutId id="2147485067" r:id="rId31"/>
    <p:sldLayoutId id="2147485068" r:id="rId32"/>
    <p:sldLayoutId id="2147485069" r:id="rId33"/>
    <p:sldLayoutId id="2147485070" r:id="rId34"/>
    <p:sldLayoutId id="2147485071" r:id="rId35"/>
    <p:sldLayoutId id="2147485072" r:id="rId36"/>
    <p:sldLayoutId id="2147485073" r:id="rId37"/>
    <p:sldLayoutId id="2147485074" r:id="rId38"/>
    <p:sldLayoutId id="2147485075" r:id="rId39"/>
    <p:sldLayoutId id="2147485076" r:id="rId40"/>
    <p:sldLayoutId id="2147485077" r:id="rId41"/>
    <p:sldLayoutId id="2147485078" r:id="rId42"/>
    <p:sldLayoutId id="2147485079" r:id="rId43"/>
    <p:sldLayoutId id="2147485080" r:id="rId44"/>
    <p:sldLayoutId id="2147485081" r:id="rId45"/>
    <p:sldLayoutId id="2147485082" r:id="rId46"/>
    <p:sldLayoutId id="2147485083" r:id="rId47"/>
    <p:sldLayoutId id="2147485084" r:id="rId48"/>
    <p:sldLayoutId id="2147485085" r:id="rId49"/>
    <p:sldLayoutId id="2147485086" r:id="rId50"/>
    <p:sldLayoutId id="2147485087" r:id="rId51"/>
    <p:sldLayoutId id="2147485088" r:id="rId52"/>
    <p:sldLayoutId id="2147485089" r:id="rId53"/>
    <p:sldLayoutId id="2147485090" r:id="rId54"/>
    <p:sldLayoutId id="2147485091" r:id="rId55"/>
    <p:sldLayoutId id="2147485092" r:id="rId56"/>
    <p:sldLayoutId id="2147485093" r:id="rId57"/>
    <p:sldLayoutId id="2147485094" r:id="rId58"/>
    <p:sldLayoutId id="2147485095" r:id="rId59"/>
    <p:sldLayoutId id="2147485096" r:id="rId60"/>
    <p:sldLayoutId id="2147485097" r:id="rId61"/>
    <p:sldLayoutId id="2147485098" r:id="rId62"/>
    <p:sldLayoutId id="2147485099" r:id="rId63"/>
    <p:sldLayoutId id="2147485100" r:id="rId64"/>
    <p:sldLayoutId id="2147485101" r:id="rId65"/>
    <p:sldLayoutId id="2147485102" r:id="rId66"/>
    <p:sldLayoutId id="2147485103" r:id="rId67"/>
    <p:sldLayoutId id="2147485104" r:id="rId68"/>
    <p:sldLayoutId id="2147485105" r:id="rId69"/>
    <p:sldLayoutId id="2147485106" r:id="rId70"/>
    <p:sldLayoutId id="2147485107" r:id="rId71"/>
    <p:sldLayoutId id="2147485108" r:id="rId72"/>
    <p:sldLayoutId id="2147485109" r:id="rId73"/>
    <p:sldLayoutId id="2147485110" r:id="rId74"/>
    <p:sldLayoutId id="2147485111" r:id="rId75"/>
    <p:sldLayoutId id="2147485112" r:id="rId76"/>
    <p:sldLayoutId id="2147485113" r:id="rId77"/>
    <p:sldLayoutId id="2147485114" r:id="rId78"/>
    <p:sldLayoutId id="2147485115" r:id="rId79"/>
    <p:sldLayoutId id="2147485116" r:id="rId80"/>
    <p:sldLayoutId id="2147485117" r:id="rId81"/>
    <p:sldLayoutId id="2147485118" r:id="rId82"/>
    <p:sldLayoutId id="2147485119" r:id="rId8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400" b="1" kern="1200">
          <a:solidFill>
            <a:srgbClr val="59595C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b="1" kern="1200">
          <a:solidFill>
            <a:srgbClr val="59595C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3pPr>
      <a:lvl4pPr marL="1376363" indent="-231775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7" y="161925"/>
            <a:ext cx="652760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08131"/>
            <a:ext cx="8689975" cy="461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auto">
          <a:xfrm>
            <a:off x="8752175" y="158753"/>
            <a:ext cx="431512" cy="22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A52FFA22-B43C-49B8-9E95-CCE8944705E2}" type="slidenum">
              <a:rPr lang="en-US" sz="14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en-US" sz="1400" dirty="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en-US" sz="14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219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61" r:id="rId1"/>
    <p:sldLayoutId id="2147485962" r:id="rId2"/>
    <p:sldLayoutId id="2147485963" r:id="rId3"/>
    <p:sldLayoutId id="2147485964" r:id="rId4"/>
    <p:sldLayoutId id="2147485965" r:id="rId5"/>
    <p:sldLayoutId id="2147485966" r:id="rId6"/>
    <p:sldLayoutId id="2147485967" r:id="rId7"/>
    <p:sldLayoutId id="2147485968" r:id="rId8"/>
    <p:sldLayoutId id="2147485969" r:id="rId9"/>
    <p:sldLayoutId id="2147485970" r:id="rId10"/>
    <p:sldLayoutId id="2147485971" r:id="rId11"/>
    <p:sldLayoutId id="2147485972" r:id="rId12"/>
    <p:sldLayoutId id="2147485973" r:id="rId13"/>
    <p:sldLayoutId id="2147485974" r:id="rId14"/>
    <p:sldLayoutId id="2147485975" r:id="rId15"/>
    <p:sldLayoutId id="2147485976" r:id="rId16"/>
    <p:sldLayoutId id="2147485977" r:id="rId17"/>
    <p:sldLayoutId id="2147485978" r:id="rId18"/>
    <p:sldLayoutId id="2147485979" r:id="rId19"/>
    <p:sldLayoutId id="2147485980" r:id="rId20"/>
    <p:sldLayoutId id="2147485981" r:id="rId21"/>
    <p:sldLayoutId id="2147485982" r:id="rId22"/>
    <p:sldLayoutId id="2147485983" r:id="rId23"/>
    <p:sldLayoutId id="2147485984" r:id="rId24"/>
    <p:sldLayoutId id="2147485985" r:id="rId25"/>
    <p:sldLayoutId id="2147485986" r:id="rId26"/>
    <p:sldLayoutId id="2147485987" r:id="rId27"/>
    <p:sldLayoutId id="2147485988" r:id="rId28"/>
    <p:sldLayoutId id="2147485989" r:id="rId29"/>
    <p:sldLayoutId id="2147485990" r:id="rId30"/>
    <p:sldLayoutId id="2147485991" r:id="rId31"/>
    <p:sldLayoutId id="2147485992" r:id="rId32"/>
    <p:sldLayoutId id="2147485993" r:id="rId33"/>
    <p:sldLayoutId id="2147485994" r:id="rId34"/>
    <p:sldLayoutId id="2147485995" r:id="rId35"/>
    <p:sldLayoutId id="2147485996" r:id="rId36"/>
    <p:sldLayoutId id="2147485997" r:id="rId37"/>
    <p:sldLayoutId id="2147485998" r:id="rId38"/>
    <p:sldLayoutId id="2147485999" r:id="rId39"/>
    <p:sldLayoutId id="2147486000" r:id="rId40"/>
    <p:sldLayoutId id="2147486001" r:id="rId41"/>
    <p:sldLayoutId id="2147486002" r:id="rId42"/>
    <p:sldLayoutId id="2147486003" r:id="rId43"/>
    <p:sldLayoutId id="2147486004" r:id="rId44"/>
    <p:sldLayoutId id="2147486005" r:id="rId45"/>
    <p:sldLayoutId id="2147486006" r:id="rId46"/>
    <p:sldLayoutId id="2147486007" r:id="rId47"/>
    <p:sldLayoutId id="2147486008" r:id="rId48"/>
    <p:sldLayoutId id="2147486009" r:id="rId49"/>
    <p:sldLayoutId id="2147486010" r:id="rId50"/>
    <p:sldLayoutId id="2147486011" r:id="rId51"/>
    <p:sldLayoutId id="2147486012" r:id="rId52"/>
    <p:sldLayoutId id="2147486013" r:id="rId53"/>
    <p:sldLayoutId id="2147486014" r:id="rId54"/>
    <p:sldLayoutId id="2147486015" r:id="rId55"/>
    <p:sldLayoutId id="2147486016" r:id="rId56"/>
    <p:sldLayoutId id="2147486017" r:id="rId57"/>
    <p:sldLayoutId id="2147486018" r:id="rId58"/>
    <p:sldLayoutId id="2147486019" r:id="rId59"/>
    <p:sldLayoutId id="2147486020" r:id="rId60"/>
    <p:sldLayoutId id="2147486021" r:id="rId61"/>
    <p:sldLayoutId id="2147486022" r:id="rId62"/>
    <p:sldLayoutId id="2147486023" r:id="rId63"/>
    <p:sldLayoutId id="2147486024" r:id="rId64"/>
    <p:sldLayoutId id="2147486025" r:id="rId65"/>
    <p:sldLayoutId id="2147486026" r:id="rId66"/>
    <p:sldLayoutId id="2147486027" r:id="rId67"/>
    <p:sldLayoutId id="2147486028" r:id="rId68"/>
    <p:sldLayoutId id="2147486029" r:id="rId69"/>
    <p:sldLayoutId id="2147486030" r:id="rId70"/>
    <p:sldLayoutId id="2147486031" r:id="rId71"/>
    <p:sldLayoutId id="2147486032" r:id="rId72"/>
    <p:sldLayoutId id="2147486033" r:id="rId73"/>
    <p:sldLayoutId id="2147486034" r:id="rId74"/>
    <p:sldLayoutId id="2147486035" r:id="rId75"/>
    <p:sldLayoutId id="2147486036" r:id="rId76"/>
    <p:sldLayoutId id="2147486037" r:id="rId77"/>
    <p:sldLayoutId id="2147486038" r:id="rId78"/>
    <p:sldLayoutId id="2147486039" r:id="rId79"/>
    <p:sldLayoutId id="2147486040" r:id="rId80"/>
    <p:sldLayoutId id="2147486041" r:id="rId81"/>
    <p:sldLayoutId id="2147486042" r:id="rId82"/>
    <p:sldLayoutId id="2147486043" r:id="rId8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400" b="1" kern="1200">
          <a:solidFill>
            <a:srgbClr val="59595C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b="1" kern="1200">
          <a:solidFill>
            <a:srgbClr val="59595C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3pPr>
      <a:lvl4pPr marL="1376363" indent="-231775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7" y="161925"/>
            <a:ext cx="652760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08131"/>
            <a:ext cx="8689975" cy="461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auto">
          <a:xfrm>
            <a:off x="8752175" y="158750"/>
            <a:ext cx="431512" cy="22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A52FFA22-B43C-49B8-9E95-CCE8944705E2}" type="slidenum">
              <a:rPr lang="en-US" sz="14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en-US" sz="1400" dirty="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en-US" sz="14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22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45" r:id="rId1"/>
    <p:sldLayoutId id="2147486046" r:id="rId2"/>
    <p:sldLayoutId id="2147486047" r:id="rId3"/>
    <p:sldLayoutId id="2147486048" r:id="rId4"/>
    <p:sldLayoutId id="2147486049" r:id="rId5"/>
    <p:sldLayoutId id="2147486050" r:id="rId6"/>
    <p:sldLayoutId id="2147486051" r:id="rId7"/>
    <p:sldLayoutId id="2147486052" r:id="rId8"/>
    <p:sldLayoutId id="2147486053" r:id="rId9"/>
    <p:sldLayoutId id="2147486054" r:id="rId10"/>
    <p:sldLayoutId id="2147486055" r:id="rId11"/>
    <p:sldLayoutId id="2147486056" r:id="rId12"/>
    <p:sldLayoutId id="2147486057" r:id="rId13"/>
    <p:sldLayoutId id="2147486058" r:id="rId14"/>
    <p:sldLayoutId id="2147486059" r:id="rId15"/>
    <p:sldLayoutId id="2147486060" r:id="rId16"/>
    <p:sldLayoutId id="2147486061" r:id="rId17"/>
    <p:sldLayoutId id="2147486062" r:id="rId18"/>
    <p:sldLayoutId id="2147486063" r:id="rId19"/>
    <p:sldLayoutId id="2147486064" r:id="rId20"/>
    <p:sldLayoutId id="2147486065" r:id="rId21"/>
    <p:sldLayoutId id="2147486066" r:id="rId22"/>
    <p:sldLayoutId id="2147486067" r:id="rId23"/>
    <p:sldLayoutId id="2147486068" r:id="rId24"/>
    <p:sldLayoutId id="2147486069" r:id="rId25"/>
    <p:sldLayoutId id="2147486070" r:id="rId26"/>
    <p:sldLayoutId id="2147486071" r:id="rId27"/>
    <p:sldLayoutId id="2147486072" r:id="rId28"/>
    <p:sldLayoutId id="2147486073" r:id="rId29"/>
    <p:sldLayoutId id="2147486074" r:id="rId30"/>
    <p:sldLayoutId id="2147486075" r:id="rId31"/>
    <p:sldLayoutId id="2147486076" r:id="rId32"/>
    <p:sldLayoutId id="2147486077" r:id="rId33"/>
    <p:sldLayoutId id="2147486078" r:id="rId34"/>
    <p:sldLayoutId id="2147486079" r:id="rId35"/>
    <p:sldLayoutId id="2147486080" r:id="rId36"/>
    <p:sldLayoutId id="2147486081" r:id="rId37"/>
    <p:sldLayoutId id="2147486082" r:id="rId38"/>
    <p:sldLayoutId id="2147486083" r:id="rId39"/>
    <p:sldLayoutId id="2147486084" r:id="rId40"/>
    <p:sldLayoutId id="2147486085" r:id="rId41"/>
    <p:sldLayoutId id="2147486086" r:id="rId42"/>
    <p:sldLayoutId id="2147486087" r:id="rId43"/>
    <p:sldLayoutId id="2147486088" r:id="rId44"/>
    <p:sldLayoutId id="2147486089" r:id="rId45"/>
    <p:sldLayoutId id="2147486090" r:id="rId46"/>
    <p:sldLayoutId id="2147486091" r:id="rId47"/>
    <p:sldLayoutId id="2147486092" r:id="rId48"/>
    <p:sldLayoutId id="2147486093" r:id="rId49"/>
    <p:sldLayoutId id="2147486094" r:id="rId50"/>
    <p:sldLayoutId id="2147486095" r:id="rId51"/>
    <p:sldLayoutId id="2147486096" r:id="rId52"/>
    <p:sldLayoutId id="2147486097" r:id="rId53"/>
    <p:sldLayoutId id="2147486098" r:id="rId54"/>
    <p:sldLayoutId id="2147486099" r:id="rId55"/>
    <p:sldLayoutId id="2147486100" r:id="rId56"/>
    <p:sldLayoutId id="2147486101" r:id="rId57"/>
    <p:sldLayoutId id="2147486102" r:id="rId58"/>
    <p:sldLayoutId id="2147486103" r:id="rId59"/>
    <p:sldLayoutId id="2147486104" r:id="rId60"/>
    <p:sldLayoutId id="2147486105" r:id="rId61"/>
    <p:sldLayoutId id="2147486106" r:id="rId62"/>
    <p:sldLayoutId id="2147486107" r:id="rId63"/>
    <p:sldLayoutId id="2147486108" r:id="rId64"/>
    <p:sldLayoutId id="2147486109" r:id="rId65"/>
    <p:sldLayoutId id="2147486110" r:id="rId66"/>
    <p:sldLayoutId id="2147486111" r:id="rId67"/>
    <p:sldLayoutId id="2147486112" r:id="rId68"/>
    <p:sldLayoutId id="2147486113" r:id="rId69"/>
    <p:sldLayoutId id="2147486114" r:id="rId70"/>
    <p:sldLayoutId id="2147486115" r:id="rId71"/>
    <p:sldLayoutId id="2147486116" r:id="rId72"/>
    <p:sldLayoutId id="2147486117" r:id="rId73"/>
    <p:sldLayoutId id="2147486118" r:id="rId74"/>
    <p:sldLayoutId id="2147486119" r:id="rId75"/>
    <p:sldLayoutId id="2147486120" r:id="rId76"/>
    <p:sldLayoutId id="2147486121" r:id="rId77"/>
    <p:sldLayoutId id="2147486122" r:id="rId78"/>
    <p:sldLayoutId id="2147486123" r:id="rId79"/>
    <p:sldLayoutId id="2147486124" r:id="rId80"/>
    <p:sldLayoutId id="2147486125" r:id="rId81"/>
    <p:sldLayoutId id="2147486126" r:id="rId82"/>
    <p:sldLayoutId id="2147486127" r:id="rId83"/>
    <p:sldLayoutId id="2147486128" r:id="rId8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400" b="1" kern="1200">
          <a:solidFill>
            <a:srgbClr val="59595C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b="1" kern="1200">
          <a:solidFill>
            <a:srgbClr val="59595C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3pPr>
      <a:lvl4pPr marL="1376363" indent="-231775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2" y="161925"/>
            <a:ext cx="652760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08127"/>
            <a:ext cx="8689975" cy="461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auto">
          <a:xfrm>
            <a:off x="8752175" y="158750"/>
            <a:ext cx="431512" cy="22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A52FFA22-B43C-49B8-9E95-CCE8944705E2}" type="slidenum">
              <a:rPr lang="en-US" sz="14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en-US" sz="1400" dirty="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en-US" sz="14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09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30" r:id="rId1"/>
    <p:sldLayoutId id="2147486131" r:id="rId2"/>
    <p:sldLayoutId id="2147486132" r:id="rId3"/>
    <p:sldLayoutId id="2147486133" r:id="rId4"/>
    <p:sldLayoutId id="2147486134" r:id="rId5"/>
    <p:sldLayoutId id="2147486135" r:id="rId6"/>
    <p:sldLayoutId id="2147486136" r:id="rId7"/>
    <p:sldLayoutId id="2147486137" r:id="rId8"/>
    <p:sldLayoutId id="2147486138" r:id="rId9"/>
    <p:sldLayoutId id="2147486139" r:id="rId10"/>
    <p:sldLayoutId id="2147486140" r:id="rId11"/>
    <p:sldLayoutId id="2147486141" r:id="rId12"/>
    <p:sldLayoutId id="2147486142" r:id="rId13"/>
    <p:sldLayoutId id="2147486143" r:id="rId14"/>
    <p:sldLayoutId id="2147486144" r:id="rId15"/>
    <p:sldLayoutId id="2147486145" r:id="rId16"/>
    <p:sldLayoutId id="2147486146" r:id="rId17"/>
    <p:sldLayoutId id="2147486147" r:id="rId18"/>
    <p:sldLayoutId id="2147486148" r:id="rId19"/>
    <p:sldLayoutId id="2147486149" r:id="rId20"/>
    <p:sldLayoutId id="2147486150" r:id="rId21"/>
    <p:sldLayoutId id="2147486151" r:id="rId22"/>
    <p:sldLayoutId id="2147486152" r:id="rId23"/>
    <p:sldLayoutId id="2147486153" r:id="rId24"/>
    <p:sldLayoutId id="2147486154" r:id="rId25"/>
    <p:sldLayoutId id="2147486155" r:id="rId26"/>
    <p:sldLayoutId id="2147486156" r:id="rId27"/>
    <p:sldLayoutId id="2147486157" r:id="rId28"/>
    <p:sldLayoutId id="2147486158" r:id="rId29"/>
    <p:sldLayoutId id="2147486159" r:id="rId30"/>
    <p:sldLayoutId id="2147486160" r:id="rId31"/>
    <p:sldLayoutId id="2147486161" r:id="rId32"/>
    <p:sldLayoutId id="2147486162" r:id="rId33"/>
    <p:sldLayoutId id="2147486163" r:id="rId34"/>
    <p:sldLayoutId id="2147486164" r:id="rId35"/>
    <p:sldLayoutId id="2147486165" r:id="rId36"/>
    <p:sldLayoutId id="2147486166" r:id="rId37"/>
    <p:sldLayoutId id="2147486167" r:id="rId38"/>
    <p:sldLayoutId id="2147486168" r:id="rId39"/>
    <p:sldLayoutId id="2147486169" r:id="rId40"/>
    <p:sldLayoutId id="2147486170" r:id="rId41"/>
    <p:sldLayoutId id="2147486171" r:id="rId42"/>
    <p:sldLayoutId id="2147486172" r:id="rId43"/>
    <p:sldLayoutId id="2147486173" r:id="rId44"/>
    <p:sldLayoutId id="2147486174" r:id="rId45"/>
    <p:sldLayoutId id="2147486175" r:id="rId46"/>
    <p:sldLayoutId id="2147486176" r:id="rId47"/>
    <p:sldLayoutId id="2147486177" r:id="rId48"/>
    <p:sldLayoutId id="2147486178" r:id="rId49"/>
    <p:sldLayoutId id="2147486179" r:id="rId50"/>
    <p:sldLayoutId id="2147486180" r:id="rId51"/>
    <p:sldLayoutId id="2147486181" r:id="rId52"/>
    <p:sldLayoutId id="2147486182" r:id="rId53"/>
    <p:sldLayoutId id="2147486183" r:id="rId54"/>
    <p:sldLayoutId id="2147486184" r:id="rId55"/>
    <p:sldLayoutId id="2147486185" r:id="rId56"/>
    <p:sldLayoutId id="2147486186" r:id="rId57"/>
    <p:sldLayoutId id="2147486187" r:id="rId58"/>
    <p:sldLayoutId id="2147486188" r:id="rId59"/>
    <p:sldLayoutId id="2147486189" r:id="rId60"/>
    <p:sldLayoutId id="2147486190" r:id="rId61"/>
    <p:sldLayoutId id="2147486191" r:id="rId62"/>
    <p:sldLayoutId id="2147486192" r:id="rId63"/>
    <p:sldLayoutId id="2147486193" r:id="rId64"/>
    <p:sldLayoutId id="2147486194" r:id="rId65"/>
    <p:sldLayoutId id="2147486195" r:id="rId66"/>
    <p:sldLayoutId id="2147486196" r:id="rId67"/>
    <p:sldLayoutId id="2147486197" r:id="rId68"/>
    <p:sldLayoutId id="2147486198" r:id="rId69"/>
    <p:sldLayoutId id="2147486199" r:id="rId70"/>
    <p:sldLayoutId id="2147486200" r:id="rId71"/>
    <p:sldLayoutId id="2147486201" r:id="rId72"/>
    <p:sldLayoutId id="2147486202" r:id="rId73"/>
    <p:sldLayoutId id="2147486203" r:id="rId74"/>
    <p:sldLayoutId id="2147486204" r:id="rId75"/>
    <p:sldLayoutId id="2147486205" r:id="rId76"/>
    <p:sldLayoutId id="2147486206" r:id="rId77"/>
    <p:sldLayoutId id="2147486207" r:id="rId78"/>
    <p:sldLayoutId id="2147486208" r:id="rId79"/>
    <p:sldLayoutId id="2147486209" r:id="rId80"/>
    <p:sldLayoutId id="2147486210" r:id="rId81"/>
    <p:sldLayoutId id="2147486211" r:id="rId82"/>
    <p:sldLayoutId id="2147486212" r:id="rId8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400" b="1" kern="1200">
          <a:solidFill>
            <a:srgbClr val="59595C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b="1" kern="1200">
          <a:solidFill>
            <a:srgbClr val="59595C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3pPr>
      <a:lvl4pPr marL="1376363" indent="-231775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7" y="161925"/>
            <a:ext cx="652760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08133"/>
            <a:ext cx="8689975" cy="461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auto">
          <a:xfrm>
            <a:off x="8752175" y="159023"/>
            <a:ext cx="431512" cy="222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A52FFA22-B43C-49B8-9E95-CCE8944705E2}" type="slidenum">
              <a:rPr lang="en-US" sz="14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en-US" sz="1400" dirty="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en-US" sz="14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009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14" r:id="rId1"/>
    <p:sldLayoutId id="2147486215" r:id="rId2"/>
    <p:sldLayoutId id="2147486216" r:id="rId3"/>
    <p:sldLayoutId id="2147486217" r:id="rId4"/>
    <p:sldLayoutId id="2147486218" r:id="rId5"/>
    <p:sldLayoutId id="2147486219" r:id="rId6"/>
    <p:sldLayoutId id="2147486220" r:id="rId7"/>
    <p:sldLayoutId id="2147486221" r:id="rId8"/>
    <p:sldLayoutId id="2147486222" r:id="rId9"/>
    <p:sldLayoutId id="2147486223" r:id="rId10"/>
    <p:sldLayoutId id="2147486224" r:id="rId11"/>
    <p:sldLayoutId id="2147486225" r:id="rId12"/>
    <p:sldLayoutId id="2147486226" r:id="rId13"/>
    <p:sldLayoutId id="2147486227" r:id="rId14"/>
    <p:sldLayoutId id="2147486228" r:id="rId15"/>
    <p:sldLayoutId id="2147486229" r:id="rId16"/>
    <p:sldLayoutId id="2147486230" r:id="rId17"/>
    <p:sldLayoutId id="2147486231" r:id="rId18"/>
    <p:sldLayoutId id="2147486232" r:id="rId19"/>
    <p:sldLayoutId id="2147486233" r:id="rId20"/>
    <p:sldLayoutId id="2147486234" r:id="rId21"/>
    <p:sldLayoutId id="2147486235" r:id="rId22"/>
    <p:sldLayoutId id="2147486236" r:id="rId23"/>
    <p:sldLayoutId id="2147486237" r:id="rId24"/>
    <p:sldLayoutId id="2147486238" r:id="rId25"/>
    <p:sldLayoutId id="2147486239" r:id="rId26"/>
    <p:sldLayoutId id="2147486240" r:id="rId27"/>
    <p:sldLayoutId id="2147486241" r:id="rId28"/>
    <p:sldLayoutId id="2147486242" r:id="rId29"/>
    <p:sldLayoutId id="2147486243" r:id="rId30"/>
    <p:sldLayoutId id="2147486244" r:id="rId31"/>
    <p:sldLayoutId id="2147486245" r:id="rId32"/>
    <p:sldLayoutId id="2147486246" r:id="rId33"/>
    <p:sldLayoutId id="2147486247" r:id="rId34"/>
    <p:sldLayoutId id="2147486248" r:id="rId35"/>
    <p:sldLayoutId id="2147486249" r:id="rId36"/>
    <p:sldLayoutId id="2147486250" r:id="rId37"/>
    <p:sldLayoutId id="2147486251" r:id="rId38"/>
    <p:sldLayoutId id="2147486252" r:id="rId39"/>
    <p:sldLayoutId id="2147486253" r:id="rId40"/>
    <p:sldLayoutId id="2147486254" r:id="rId41"/>
    <p:sldLayoutId id="2147486255" r:id="rId42"/>
    <p:sldLayoutId id="2147486256" r:id="rId43"/>
    <p:sldLayoutId id="2147486257" r:id="rId44"/>
    <p:sldLayoutId id="2147486258" r:id="rId45"/>
    <p:sldLayoutId id="2147486259" r:id="rId46"/>
    <p:sldLayoutId id="2147486260" r:id="rId47"/>
    <p:sldLayoutId id="2147486261" r:id="rId48"/>
    <p:sldLayoutId id="2147486262" r:id="rId49"/>
    <p:sldLayoutId id="2147486263" r:id="rId50"/>
    <p:sldLayoutId id="2147486264" r:id="rId51"/>
    <p:sldLayoutId id="2147486265" r:id="rId52"/>
    <p:sldLayoutId id="2147486266" r:id="rId53"/>
    <p:sldLayoutId id="2147486267" r:id="rId54"/>
    <p:sldLayoutId id="2147486268" r:id="rId55"/>
    <p:sldLayoutId id="2147486269" r:id="rId56"/>
    <p:sldLayoutId id="2147486270" r:id="rId57"/>
    <p:sldLayoutId id="2147486271" r:id="rId58"/>
    <p:sldLayoutId id="2147486272" r:id="rId59"/>
    <p:sldLayoutId id="2147486273" r:id="rId60"/>
    <p:sldLayoutId id="2147486274" r:id="rId61"/>
    <p:sldLayoutId id="2147486275" r:id="rId62"/>
    <p:sldLayoutId id="2147486276" r:id="rId63"/>
    <p:sldLayoutId id="2147486277" r:id="rId64"/>
    <p:sldLayoutId id="2147486278" r:id="rId65"/>
    <p:sldLayoutId id="2147486279" r:id="rId66"/>
    <p:sldLayoutId id="2147486280" r:id="rId67"/>
    <p:sldLayoutId id="2147486281" r:id="rId68"/>
    <p:sldLayoutId id="2147486282" r:id="rId69"/>
    <p:sldLayoutId id="2147486283" r:id="rId70"/>
    <p:sldLayoutId id="2147486284" r:id="rId71"/>
    <p:sldLayoutId id="2147486285" r:id="rId72"/>
    <p:sldLayoutId id="2147486286" r:id="rId73"/>
    <p:sldLayoutId id="2147486287" r:id="rId74"/>
    <p:sldLayoutId id="2147486288" r:id="rId75"/>
    <p:sldLayoutId id="2147486289" r:id="rId76"/>
    <p:sldLayoutId id="2147486290" r:id="rId77"/>
    <p:sldLayoutId id="2147486291" r:id="rId78"/>
    <p:sldLayoutId id="2147486292" r:id="rId79"/>
    <p:sldLayoutId id="2147486293" r:id="rId80"/>
    <p:sldLayoutId id="2147486294" r:id="rId81"/>
    <p:sldLayoutId id="2147486295" r:id="rId82"/>
    <p:sldLayoutId id="2147486296" r:id="rId8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400" b="1" kern="1200">
          <a:solidFill>
            <a:srgbClr val="59595C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177B57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b="1" kern="1200">
          <a:solidFill>
            <a:srgbClr val="59595C"/>
          </a:solidFill>
          <a:latin typeface="+mn-lt"/>
          <a:ea typeface="+mn-ea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3pPr>
      <a:lvl4pPr marL="1376363" indent="-231775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61925"/>
            <a:ext cx="65278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08129"/>
            <a:ext cx="8689975" cy="461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auto">
          <a:xfrm>
            <a:off x="8751888" y="158750"/>
            <a:ext cx="431800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047B47D9-D589-48CF-9B02-046D3836282D}" type="slidenum">
              <a:rPr lang="en-US" sz="1400" smtClean="0">
                <a:solidFill>
                  <a:srgbClr val="000000"/>
                </a:solidFill>
              </a:rPr>
              <a:pPr algn="r" eaLnBrk="1" hangingPunct="1">
                <a:defRPr/>
              </a:pPr>
              <a:t>‹#›</a:t>
            </a:fld>
            <a:endParaRPr lang="en-US" sz="1400" dirty="0" smtClean="0">
              <a:solidFill>
                <a:srgbClr val="000000"/>
              </a:solidFill>
            </a:endParaRPr>
          </a:p>
          <a:p>
            <a:pPr algn="r" eaLnBrk="1" hangingPunct="1">
              <a:defRPr/>
            </a:pPr>
            <a:endParaRPr lang="en-US" sz="14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09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382" r:id="rId1"/>
    <p:sldLayoutId id="2147486383" r:id="rId2"/>
    <p:sldLayoutId id="2147486384" r:id="rId3"/>
    <p:sldLayoutId id="2147486385" r:id="rId4"/>
    <p:sldLayoutId id="2147486386" r:id="rId5"/>
    <p:sldLayoutId id="2147486387" r:id="rId6"/>
    <p:sldLayoutId id="2147486388" r:id="rId7"/>
    <p:sldLayoutId id="2147486389" r:id="rId8"/>
    <p:sldLayoutId id="2147486390" r:id="rId9"/>
    <p:sldLayoutId id="2147486391" r:id="rId10"/>
    <p:sldLayoutId id="2147486392" r:id="rId11"/>
    <p:sldLayoutId id="2147486393" r:id="rId12"/>
    <p:sldLayoutId id="2147486394" r:id="rId13"/>
    <p:sldLayoutId id="2147486395" r:id="rId14"/>
    <p:sldLayoutId id="2147486396" r:id="rId15"/>
    <p:sldLayoutId id="2147486397" r:id="rId16"/>
    <p:sldLayoutId id="2147486398" r:id="rId17"/>
    <p:sldLayoutId id="2147486399" r:id="rId18"/>
    <p:sldLayoutId id="2147486400" r:id="rId19"/>
    <p:sldLayoutId id="2147486401" r:id="rId20"/>
    <p:sldLayoutId id="2147486402" r:id="rId21"/>
    <p:sldLayoutId id="2147486403" r:id="rId22"/>
    <p:sldLayoutId id="2147486404" r:id="rId23"/>
    <p:sldLayoutId id="2147486405" r:id="rId24"/>
    <p:sldLayoutId id="2147486406" r:id="rId25"/>
    <p:sldLayoutId id="2147486407" r:id="rId26"/>
    <p:sldLayoutId id="2147486408" r:id="rId27"/>
    <p:sldLayoutId id="2147486409" r:id="rId28"/>
    <p:sldLayoutId id="2147486410" r:id="rId29"/>
    <p:sldLayoutId id="2147486411" r:id="rId30"/>
    <p:sldLayoutId id="2147486412" r:id="rId31"/>
    <p:sldLayoutId id="2147486413" r:id="rId32"/>
    <p:sldLayoutId id="2147486414" r:id="rId33"/>
    <p:sldLayoutId id="2147486415" r:id="rId34"/>
    <p:sldLayoutId id="2147486416" r:id="rId35"/>
    <p:sldLayoutId id="2147486417" r:id="rId36"/>
    <p:sldLayoutId id="2147486418" r:id="rId37"/>
    <p:sldLayoutId id="2147486419" r:id="rId38"/>
    <p:sldLayoutId id="2147486420" r:id="rId39"/>
    <p:sldLayoutId id="2147486421" r:id="rId40"/>
    <p:sldLayoutId id="2147486422" r:id="rId41"/>
    <p:sldLayoutId id="2147486423" r:id="rId42"/>
    <p:sldLayoutId id="2147486424" r:id="rId43"/>
    <p:sldLayoutId id="2147486425" r:id="rId44"/>
    <p:sldLayoutId id="2147486426" r:id="rId45"/>
    <p:sldLayoutId id="2147486427" r:id="rId46"/>
    <p:sldLayoutId id="2147486428" r:id="rId47"/>
    <p:sldLayoutId id="2147486429" r:id="rId48"/>
    <p:sldLayoutId id="2147486430" r:id="rId49"/>
    <p:sldLayoutId id="2147486431" r:id="rId50"/>
    <p:sldLayoutId id="2147486432" r:id="rId51"/>
    <p:sldLayoutId id="2147486433" r:id="rId52"/>
    <p:sldLayoutId id="2147486434" r:id="rId53"/>
    <p:sldLayoutId id="2147486435" r:id="rId54"/>
    <p:sldLayoutId id="2147486436" r:id="rId55"/>
    <p:sldLayoutId id="2147486437" r:id="rId56"/>
    <p:sldLayoutId id="2147486438" r:id="rId57"/>
    <p:sldLayoutId id="2147486439" r:id="rId58"/>
    <p:sldLayoutId id="2147486440" r:id="rId59"/>
    <p:sldLayoutId id="2147486441" r:id="rId60"/>
    <p:sldLayoutId id="2147486442" r:id="rId61"/>
    <p:sldLayoutId id="2147486443" r:id="rId62"/>
    <p:sldLayoutId id="2147486444" r:id="rId63"/>
    <p:sldLayoutId id="2147486445" r:id="rId64"/>
    <p:sldLayoutId id="2147486446" r:id="rId65"/>
    <p:sldLayoutId id="2147486447" r:id="rId66"/>
    <p:sldLayoutId id="2147486448" r:id="rId67"/>
    <p:sldLayoutId id="2147486449" r:id="rId68"/>
    <p:sldLayoutId id="2147486450" r:id="rId69"/>
    <p:sldLayoutId id="2147486451" r:id="rId70"/>
    <p:sldLayoutId id="2147486452" r:id="rId71"/>
    <p:sldLayoutId id="2147486453" r:id="rId72"/>
    <p:sldLayoutId id="2147486454" r:id="rId73"/>
    <p:sldLayoutId id="2147486455" r:id="rId74"/>
    <p:sldLayoutId id="2147486456" r:id="rId75"/>
    <p:sldLayoutId id="2147486457" r:id="rId76"/>
    <p:sldLayoutId id="2147486458" r:id="rId77"/>
    <p:sldLayoutId id="2147486459" r:id="rId78"/>
    <p:sldLayoutId id="2147486460" r:id="rId79"/>
    <p:sldLayoutId id="2147486461" r:id="rId80"/>
    <p:sldLayoutId id="2147486462" r:id="rId81"/>
    <p:sldLayoutId id="2147486463" r:id="rId82"/>
    <p:sldLayoutId id="2147486464" r:id="rId83"/>
    <p:sldLayoutId id="2147486465" r:id="rId84"/>
    <p:sldLayoutId id="2147486466" r:id="rId85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1400" b="1" kern="1200">
          <a:solidFill>
            <a:srgbClr val="59595C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1400" b="1">
          <a:solidFill>
            <a:srgbClr val="59595C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1400" b="1">
          <a:solidFill>
            <a:srgbClr val="59595C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1400" b="1">
          <a:solidFill>
            <a:srgbClr val="59595C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1400" b="1">
          <a:solidFill>
            <a:srgbClr val="59595C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b="1" kern="1200">
          <a:solidFill>
            <a:srgbClr val="59595C"/>
          </a:solidFill>
          <a:latin typeface="+mn-lt"/>
          <a:ea typeface="+mn-ea"/>
          <a:cs typeface="+mn-cs"/>
        </a:defRPr>
      </a:lvl1pPr>
      <a:lvl2pPr marL="457200" indent="-228600" algn="l" rtl="0" fontAlgn="base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2pPr>
      <a:lvl3pPr marL="914400" indent="-228600" algn="l" rtl="0" fontAlgn="base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3pPr>
      <a:lvl4pPr marL="1376363" indent="-231775" algn="l" rtl="0" fontAlgn="base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4pPr>
      <a:lvl5pPr marL="2058988" indent="-230188" algn="l" rtl="0" fontAlgn="base">
        <a:spcBef>
          <a:spcPct val="20000"/>
        </a:spcBef>
        <a:spcAft>
          <a:spcPct val="0"/>
        </a:spcAft>
        <a:buClr>
          <a:srgbClr val="F0A933"/>
        </a:buClr>
        <a:buFont typeface="Lucida Grande"/>
        <a:buChar char="»"/>
        <a:defRPr sz="1400" kern="1200">
          <a:solidFill>
            <a:srgbClr val="59595C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70.xml"/><Relationship Id="rId1" Type="http://schemas.openxmlformats.org/officeDocument/2006/relationships/tags" Target="../tags/tag11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7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37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53.xml"/><Relationship Id="rId1" Type="http://schemas.openxmlformats.org/officeDocument/2006/relationships/tags" Target="../tags/tag5.xml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20.xml"/><Relationship Id="rId1" Type="http://schemas.openxmlformats.org/officeDocument/2006/relationships/tags" Target="../tags/tag6.xml"/><Relationship Id="rId4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53.xml"/><Relationship Id="rId1" Type="http://schemas.openxmlformats.org/officeDocument/2006/relationships/tags" Target="../tags/tag7.xml"/><Relationship Id="rId4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53.xml"/><Relationship Id="rId1" Type="http://schemas.openxmlformats.org/officeDocument/2006/relationships/tags" Target="../tags/tag8.xml"/><Relationship Id="rId4" Type="http://schemas.openxmlformats.org/officeDocument/2006/relationships/image" Target="../media/image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70.xml"/><Relationship Id="rId1" Type="http://schemas.openxmlformats.org/officeDocument/2006/relationships/tags" Target="../tags/tag9.xml"/><Relationship Id="rId4" Type="http://schemas.openxmlformats.org/officeDocument/2006/relationships/image" Target="../media/image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03.xml"/><Relationship Id="rId1" Type="http://schemas.openxmlformats.org/officeDocument/2006/relationships/tags" Target="../tags/tag10.xml"/><Relationship Id="rId5" Type="http://schemas.openxmlformats.org/officeDocument/2006/relationships/image" Target="../media/image4.jpe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2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1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16592" y="3386912"/>
            <a:ext cx="7706369" cy="261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2800" b="1" dirty="0" smtClean="0">
                <a:latin typeface="Arial" pitchFamily="34" charset="0"/>
                <a:ea typeface="Calibri"/>
                <a:cs typeface="Arial" pitchFamily="34" charset="0"/>
              </a:rPr>
              <a:t>Airlines and Aircraft Noise Management &amp; Reduction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2400" b="1" dirty="0">
              <a:solidFill>
                <a:srgbClr val="58595B"/>
              </a:solidFill>
              <a:latin typeface="Calibri"/>
              <a:ea typeface="+mj-ea"/>
              <a:cs typeface="Times New Roman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 smtClean="0">
                <a:solidFill>
                  <a:srgbClr val="58595B"/>
                </a:solidFill>
                <a:latin typeface="Arial"/>
                <a:ea typeface="+mj-ea"/>
                <a:cs typeface="Arial"/>
              </a:rPr>
              <a:t>November 15, 2017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58595B"/>
                </a:solidFill>
                <a:latin typeface="Arial"/>
                <a:ea typeface="+mj-ea"/>
                <a:cs typeface="Arial"/>
              </a:rPr>
              <a:t>N.O.I.S.E. Policy Summit and Community Involvement </a:t>
            </a:r>
            <a:r>
              <a:rPr lang="en-US" b="1" dirty="0" smtClean="0">
                <a:solidFill>
                  <a:srgbClr val="58595B"/>
                </a:solidFill>
                <a:latin typeface="Arial"/>
                <a:ea typeface="+mj-ea"/>
                <a:cs typeface="Arial"/>
              </a:rPr>
              <a:t>Workshop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srgbClr val="58595B"/>
              </a:solidFill>
              <a:latin typeface="Arial"/>
              <a:ea typeface="+mj-ea"/>
              <a:cs typeface="Arial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58595B"/>
                </a:solidFill>
                <a:latin typeface="Arial"/>
                <a:ea typeface="+mj-ea"/>
                <a:cs typeface="Arial"/>
              </a:rPr>
              <a:t>Nancy Young, Vice President, Environmental Affair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b="1" dirty="0" smtClean="0">
                <a:solidFill>
                  <a:srgbClr val="58595B"/>
                </a:solidFill>
                <a:latin typeface="Arial"/>
                <a:ea typeface="+mj-ea"/>
                <a:cs typeface="Arial"/>
              </a:rPr>
              <a:t>Airlines for America (A4A)</a:t>
            </a:r>
          </a:p>
        </p:txBody>
      </p:sp>
      <p:pic>
        <p:nvPicPr>
          <p:cNvPr id="6" name="Picture 1081" descr="http://ata.airlines.org/Logos/A4A%20(C)%20Color%20Horizontal%20with%20Tag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540" y="1308872"/>
            <a:ext cx="5271821" cy="1838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314145" y="362418"/>
            <a:ext cx="8899006" cy="5400210"/>
            <a:chOff x="393700" y="362418"/>
            <a:chExt cx="8899006" cy="5400210"/>
          </a:xfrm>
        </p:grpSpPr>
        <p:sp>
          <p:nvSpPr>
            <p:cNvPr id="41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69192" y="362418"/>
              <a:ext cx="8823514" cy="819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0" bIns="45720" numCol="1" anchor="b" anchorCtr="0" compatLnSpc="1">
              <a:prstTxWarp prst="textNoShape">
                <a:avLst/>
              </a:prstTxWarp>
            </a:bodyPr>
            <a:lstStyle/>
            <a:p>
              <a:pPr marL="177800"/>
              <a:r>
                <a:rPr lang="en-US" sz="2800" b="1" dirty="0" smtClean="0">
                  <a:solidFill>
                    <a:srgbClr val="000000"/>
                  </a:solidFill>
                  <a:latin typeface="Arial"/>
                </a:rPr>
                <a:t>In Sum …</a:t>
              </a:r>
            </a:p>
            <a:p>
              <a:pPr marL="177800"/>
              <a:endParaRPr lang="en-US" sz="2400" dirty="0">
                <a:solidFill>
                  <a:srgbClr val="C00000"/>
                </a:solidFill>
                <a:latin typeface="Arial"/>
              </a:endParaRP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393700" y="1195286"/>
              <a:ext cx="8813800" cy="1588"/>
            </a:xfrm>
            <a:prstGeom prst="line">
              <a:avLst/>
            </a:prstGeom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393700" y="5761040"/>
              <a:ext cx="8826500" cy="1588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3"/>
          <p:cNvSpPr txBox="1">
            <a:spLocks/>
          </p:cNvSpPr>
          <p:nvPr/>
        </p:nvSpPr>
        <p:spPr>
          <a:xfrm>
            <a:off x="4610895" y="6044350"/>
            <a:ext cx="3810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74C570C4-B42A-410E-9318-4E6AD431B2AF}" type="slidenum">
              <a:rPr lang="en-US" sz="1050" smtClean="0">
                <a:solidFill>
                  <a:srgbClr val="000000"/>
                </a:solidFill>
              </a:rPr>
              <a:pPr algn="ctr"/>
              <a:t>10</a:t>
            </a:fld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296803" y="1196875"/>
            <a:ext cx="8711275" cy="456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00050" lvl="0" indent="-285750">
              <a:spcBef>
                <a:spcPts val="600"/>
              </a:spcBef>
              <a:spcAft>
                <a:spcPts val="1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400" b="1" dirty="0" smtClean="0">
                <a:solidFill>
                  <a:srgbClr val="1070AC"/>
                </a:solidFill>
                <a:latin typeface="Arial"/>
                <a:cs typeface="Arial"/>
              </a:rPr>
              <a:t>U.S. Aviation Has a Strong Record of Noise Reduction and Is Committed to Further Reductions</a:t>
            </a:r>
          </a:p>
          <a:p>
            <a:pPr marL="400050" lvl="0" indent="-285750">
              <a:spcBef>
                <a:spcPts val="600"/>
              </a:spcBef>
              <a:spcAft>
                <a:spcPts val="1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400" b="1" dirty="0" smtClean="0">
                <a:solidFill>
                  <a:srgbClr val="1070AC"/>
                </a:solidFill>
                <a:latin typeface="Arial"/>
                <a:cs typeface="Arial"/>
              </a:rPr>
              <a:t>NextGen </a:t>
            </a:r>
            <a:r>
              <a:rPr lang="en-US" sz="2400" b="1" dirty="0">
                <a:solidFill>
                  <a:srgbClr val="1070AC"/>
                </a:solidFill>
                <a:latin typeface="Arial"/>
                <a:cs typeface="Arial"/>
              </a:rPr>
              <a:t>Is Critically Important to the United States</a:t>
            </a:r>
          </a:p>
          <a:p>
            <a:pPr marL="914400" lvl="1" indent="-342900">
              <a:spcBef>
                <a:spcPts val="600"/>
              </a:spcBef>
              <a:spcAft>
                <a:spcPts val="100"/>
              </a:spcAft>
              <a:buFont typeface="Arial" pitchFamily="34" charset="0"/>
              <a:buChar char="•"/>
              <a:defRPr/>
            </a:pP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Replacement of 1940s era radar system is a necessary and critical infrastructure project – benefits in safety, to the U.S. economy, U.S,-competitiveness, airports, airlines, communities, emissions reduction and, yes, even noise abatement procedures</a:t>
            </a:r>
          </a:p>
          <a:p>
            <a:pPr marL="400050" indent="-285750">
              <a:spcBef>
                <a:spcPts val="600"/>
              </a:spcBef>
              <a:spcAft>
                <a:spcPts val="1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400" b="1" dirty="0" smtClean="0">
                <a:solidFill>
                  <a:srgbClr val="1070AC"/>
                </a:solidFill>
                <a:latin typeface="Arial"/>
                <a:cs typeface="Arial"/>
              </a:rPr>
              <a:t>But We Know that Can Be “Cold Comfort” to those Who Experience Increases in Noise</a:t>
            </a:r>
          </a:p>
          <a:p>
            <a:pPr marL="400050" indent="-285750">
              <a:spcBef>
                <a:spcPts val="600"/>
              </a:spcBef>
              <a:spcAft>
                <a:spcPts val="1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400" b="1" dirty="0" smtClean="0">
                <a:solidFill>
                  <a:srgbClr val="1070AC"/>
                </a:solidFill>
                <a:latin typeface="Arial"/>
                <a:cs typeface="Arial"/>
              </a:rPr>
              <a:t>We Are Working with FAA, Airports, N.O.I.S.E and Other Stakeholders to Help Address the Issues</a:t>
            </a:r>
          </a:p>
        </p:txBody>
      </p:sp>
      <p:pic>
        <p:nvPicPr>
          <p:cNvPr id="9" name="Picture 1081" descr="http://ata.airlines.org/Logos/A4A%20(C)%20Color%20Horizontal%20with%20Ta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638" y="5973245"/>
            <a:ext cx="2203862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64113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314145" y="533400"/>
            <a:ext cx="8899006" cy="5229228"/>
            <a:chOff x="393700" y="533400"/>
            <a:chExt cx="8899006" cy="5229228"/>
          </a:xfrm>
        </p:grpSpPr>
        <p:sp>
          <p:nvSpPr>
            <p:cNvPr id="41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69192" y="533400"/>
              <a:ext cx="8823514" cy="819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0" bIns="45720" numCol="1" anchor="b" anchorCtr="0" compatLnSpc="1">
              <a:prstTxWarp prst="textNoShape">
                <a:avLst/>
              </a:prstTxWarp>
            </a:bodyPr>
            <a:lstStyle/>
            <a:p>
              <a:pPr marL="177800"/>
              <a:r>
                <a:rPr lang="en-US" sz="2800" b="1" dirty="0" smtClean="0">
                  <a:solidFill>
                    <a:srgbClr val="000000"/>
                  </a:solidFill>
                  <a:latin typeface="Arial"/>
                </a:rPr>
                <a:t>Overview</a:t>
              </a:r>
              <a:endParaRPr lang="en-US" sz="2800" b="1" dirty="0">
                <a:solidFill>
                  <a:srgbClr val="000000"/>
                </a:solidFill>
                <a:latin typeface="Arial"/>
              </a:endParaRPr>
            </a:p>
            <a:p>
              <a:pPr marL="177800"/>
              <a:endParaRPr lang="en-US" sz="2400" dirty="0">
                <a:solidFill>
                  <a:srgbClr val="C00000"/>
                </a:solidFill>
                <a:latin typeface="Arial"/>
              </a:endParaRP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393700" y="1195286"/>
              <a:ext cx="8813800" cy="1588"/>
            </a:xfrm>
            <a:prstGeom prst="line">
              <a:avLst/>
            </a:prstGeom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393700" y="5761040"/>
              <a:ext cx="8826500" cy="1588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3"/>
          <p:cNvSpPr txBox="1">
            <a:spLocks/>
          </p:cNvSpPr>
          <p:nvPr/>
        </p:nvSpPr>
        <p:spPr>
          <a:xfrm>
            <a:off x="4610895" y="6044746"/>
            <a:ext cx="3810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74C570C4-B42A-410E-9318-4E6AD431B2AF}" type="slidenum">
              <a:rPr lang="en-US" sz="1050" smtClean="0">
                <a:solidFill>
                  <a:srgbClr val="000000"/>
                </a:solidFill>
              </a:rPr>
              <a:pPr algn="ctr"/>
              <a:t>2</a:t>
            </a:fld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66175" y="1352267"/>
            <a:ext cx="7567037" cy="456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00050" indent="-285750">
              <a:spcBef>
                <a:spcPts val="1200"/>
              </a:spcBef>
              <a:spcAft>
                <a:spcPts val="12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Tremendous Aircraft Noise Reductions </a:t>
            </a:r>
          </a:p>
          <a:p>
            <a:pPr marL="400050" indent="-285750">
              <a:spcBef>
                <a:spcPts val="1200"/>
              </a:spcBef>
              <a:spcAft>
                <a:spcPts val="12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But Changed Exposures from New/Revised ATC Procedures Have Caused Concerns</a:t>
            </a:r>
          </a:p>
          <a:p>
            <a:pPr marL="400050" indent="-285750">
              <a:spcBef>
                <a:spcPts val="1200"/>
              </a:spcBef>
              <a:spcAft>
                <a:spcPts val="12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How Those Concerns Are Being Addressed</a:t>
            </a:r>
          </a:p>
          <a:p>
            <a:pPr marL="400050" indent="-285750">
              <a:spcBef>
                <a:spcPts val="1200"/>
              </a:spcBef>
              <a:spcAft>
                <a:spcPts val="12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A Word About the U.S. Airlines’ Synergistic Environmental Commitments</a:t>
            </a:r>
          </a:p>
        </p:txBody>
      </p:sp>
      <p:pic>
        <p:nvPicPr>
          <p:cNvPr id="9" name="Picture 1081" descr="http://ata.airlines.org/Logos/A4A%20(C)%20Color%20Horizontal%20with%20Ta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190" y="5785963"/>
            <a:ext cx="2203862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63840" y="1376632"/>
            <a:ext cx="1648284" cy="4206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874399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3" name="Straight Connector 182"/>
          <p:cNvCxnSpPr/>
          <p:nvPr/>
        </p:nvCxnSpPr>
        <p:spPr>
          <a:xfrm>
            <a:off x="393700" y="1195286"/>
            <a:ext cx="8813800" cy="1588"/>
          </a:xfrm>
          <a:prstGeom prst="line">
            <a:avLst/>
          </a:prstGeom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183"/>
          <p:cNvCxnSpPr/>
          <p:nvPr/>
        </p:nvCxnSpPr>
        <p:spPr>
          <a:xfrm>
            <a:off x="393700" y="5761040"/>
            <a:ext cx="8826500" cy="1588"/>
          </a:xfrm>
          <a:prstGeom prst="line">
            <a:avLst/>
          </a:prstGeom>
          <a:ln w="254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081" descr="http://ata.airlines.org/Logos/A4A%20(C)%20Color%20Horizontal%20with%20Ta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865" y="5830793"/>
            <a:ext cx="1836248" cy="64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 rot="16200000">
            <a:off x="-349930" y="3109036"/>
            <a:ext cx="180369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rgbClr val="000000"/>
                </a:solidFill>
                <a:latin typeface="Arial"/>
              </a:rPr>
              <a:t>Millions of </a:t>
            </a:r>
            <a:r>
              <a:rPr lang="en-US" sz="1500" dirty="0" smtClean="0">
                <a:solidFill>
                  <a:srgbClr val="000000"/>
                </a:solidFill>
                <a:latin typeface="Arial"/>
              </a:rPr>
              <a:t>People</a:t>
            </a:r>
            <a:r>
              <a:rPr lang="en-US" sz="1500" baseline="30000" dirty="0" smtClean="0">
                <a:solidFill>
                  <a:srgbClr val="000000"/>
                </a:solidFill>
                <a:latin typeface="Arial"/>
              </a:rPr>
              <a:t>1</a:t>
            </a:r>
            <a:endParaRPr lang="en-US" sz="1500" baseline="30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 rot="5400000">
            <a:off x="7949728" y="3109036"/>
            <a:ext cx="222048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dirty="0">
                <a:solidFill>
                  <a:srgbClr val="000000"/>
                </a:solidFill>
                <a:latin typeface="Arial"/>
              </a:rPr>
              <a:t>Millions of </a:t>
            </a:r>
            <a:r>
              <a:rPr lang="en-US" sz="1500" dirty="0" smtClean="0">
                <a:solidFill>
                  <a:srgbClr val="000000"/>
                </a:solidFill>
                <a:latin typeface="Arial"/>
              </a:rPr>
              <a:t>Passengers</a:t>
            </a:r>
            <a:r>
              <a:rPr lang="en-US" sz="1500" baseline="30000" dirty="0" smtClean="0">
                <a:solidFill>
                  <a:srgbClr val="000000"/>
                </a:solidFill>
                <a:latin typeface="Arial"/>
              </a:rPr>
              <a:t>2</a:t>
            </a:r>
            <a:endParaRPr lang="en-US" sz="1500" baseline="30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9251" y="-43665"/>
            <a:ext cx="9282695" cy="1262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marL="177800"/>
            <a:r>
              <a:rPr lang="en-US" sz="2400" b="1" dirty="0" smtClean="0">
                <a:solidFill>
                  <a:srgbClr val="000000"/>
                </a:solidFill>
                <a:latin typeface="Arial"/>
              </a:rPr>
              <a:t>U.S. AVIATION’S STRONG NOISE REDUCTION RECORD</a:t>
            </a:r>
          </a:p>
          <a:p>
            <a:pPr marL="177800"/>
            <a:r>
              <a:rPr lang="en-US" sz="1700" dirty="0" smtClean="0">
                <a:solidFill>
                  <a:srgbClr val="B1222B"/>
                </a:solidFill>
                <a:latin typeface="Arial"/>
              </a:rPr>
              <a:t>From 1975-2016, </a:t>
            </a:r>
            <a:r>
              <a:rPr lang="en-US" sz="1700" dirty="0">
                <a:solidFill>
                  <a:srgbClr val="B1222B"/>
                </a:solidFill>
                <a:latin typeface="Arial"/>
              </a:rPr>
              <a:t>the Number of U.S. Residents Exposed to Significant Aircraft Noise Fell </a:t>
            </a:r>
            <a:r>
              <a:rPr lang="en-US" sz="1700" dirty="0" smtClean="0">
                <a:solidFill>
                  <a:srgbClr val="B1222B"/>
                </a:solidFill>
                <a:latin typeface="Arial"/>
              </a:rPr>
              <a:t>94% </a:t>
            </a:r>
            <a:r>
              <a:rPr lang="en-US" sz="1700" dirty="0">
                <a:solidFill>
                  <a:srgbClr val="B1222B"/>
                </a:solidFill>
                <a:latin typeface="Arial"/>
              </a:rPr>
              <a:t>While Enplanements Rose </a:t>
            </a:r>
            <a:r>
              <a:rPr lang="en-US" sz="1700" dirty="0" smtClean="0">
                <a:solidFill>
                  <a:srgbClr val="B1222B"/>
                </a:solidFill>
                <a:latin typeface="Arial"/>
              </a:rPr>
              <a:t>325%); 53% </a:t>
            </a:r>
            <a:r>
              <a:rPr lang="en-US" sz="1700" dirty="0">
                <a:solidFill>
                  <a:srgbClr val="B1222B"/>
                </a:solidFill>
                <a:latin typeface="Arial"/>
              </a:rPr>
              <a:t>from </a:t>
            </a:r>
            <a:r>
              <a:rPr lang="en-US" sz="1700" dirty="0" smtClean="0">
                <a:solidFill>
                  <a:srgbClr val="B1222B"/>
                </a:solidFill>
                <a:latin typeface="Arial"/>
              </a:rPr>
              <a:t>2000-2016 </a:t>
            </a:r>
            <a:r>
              <a:rPr lang="en-US" sz="1700" dirty="0">
                <a:solidFill>
                  <a:srgbClr val="B1222B"/>
                </a:solidFill>
                <a:latin typeface="Arial"/>
              </a:rPr>
              <a:t>(Enplanements Rose </a:t>
            </a:r>
            <a:r>
              <a:rPr lang="en-US" sz="1700" dirty="0" smtClean="0">
                <a:solidFill>
                  <a:srgbClr val="B1222B"/>
                </a:solidFill>
                <a:latin typeface="Arial"/>
              </a:rPr>
              <a:t>22%)</a:t>
            </a:r>
            <a:endParaRPr lang="en-US" sz="1700" dirty="0">
              <a:solidFill>
                <a:srgbClr val="B1222B"/>
              </a:solidFill>
              <a:latin typeface="Arial"/>
            </a:endParaRPr>
          </a:p>
        </p:txBody>
      </p:sp>
      <p:sp>
        <p:nvSpPr>
          <p:cNvPr id="11" name="Slide Number Placeholder 3"/>
          <p:cNvSpPr txBox="1">
            <a:spLocks/>
          </p:cNvSpPr>
          <p:nvPr/>
        </p:nvSpPr>
        <p:spPr>
          <a:xfrm>
            <a:off x="4610895" y="6044352"/>
            <a:ext cx="3810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74C570C4-B42A-410E-9318-4E6AD431B2AF}" type="slidenum">
              <a:rPr lang="en-US" sz="1050" smtClean="0">
                <a:solidFill>
                  <a:srgbClr val="000000"/>
                </a:solidFill>
              </a:rPr>
              <a:pPr algn="ctr"/>
              <a:t>3</a:t>
            </a:fld>
            <a:endParaRPr lang="en-US" sz="1050" dirty="0">
              <a:solidFill>
                <a:srgbClr val="000000"/>
              </a:solidFill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25" y="1213218"/>
            <a:ext cx="8105949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896319" y="5330825"/>
            <a:ext cx="61318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171450">
              <a:buAutoNum type="arabicPeriod"/>
              <a:tabLst>
                <a:tab pos="514350" algn="l"/>
              </a:tabLst>
            </a:pPr>
            <a:r>
              <a:rPr lang="en-US" sz="900" dirty="0" smtClean="0"/>
              <a:t>U.S. residents exposed to “significant” (65 </a:t>
            </a:r>
            <a:r>
              <a:rPr lang="en-US" sz="900" dirty="0"/>
              <a:t>dB </a:t>
            </a:r>
            <a:r>
              <a:rPr lang="en-US" sz="900" dirty="0" smtClean="0"/>
              <a:t>DNL) noise levels from all aviation operations within U.S. airspace</a:t>
            </a:r>
          </a:p>
          <a:p>
            <a:pPr marL="228600" indent="-171450">
              <a:buAutoNum type="arabicPeriod"/>
              <a:tabLst>
                <a:tab pos="514350" algn="l"/>
              </a:tabLst>
            </a:pPr>
            <a:r>
              <a:rPr lang="en-US" sz="900" dirty="0" smtClean="0"/>
              <a:t>Passengers enplaned on U.S. and foreign flag carriers as captured in the FAA Terminal Area Forecast (TAF)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9128581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314147" y="204461"/>
            <a:ext cx="8899006" cy="5558170"/>
            <a:chOff x="393700" y="204458"/>
            <a:chExt cx="8899006" cy="5558170"/>
          </a:xfrm>
        </p:grpSpPr>
        <p:sp>
          <p:nvSpPr>
            <p:cNvPr id="41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69192" y="204458"/>
              <a:ext cx="8823514" cy="819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0" bIns="45720" numCol="1" anchor="b" anchorCtr="0" compatLnSpc="1">
              <a:prstTxWarp prst="textNoShape">
                <a:avLst/>
              </a:prstTxWarp>
            </a:bodyPr>
            <a:lstStyle/>
            <a:p>
              <a:pPr marL="177800"/>
              <a:r>
                <a:rPr lang="en-US" sz="2800" b="1" dirty="0" smtClean="0">
                  <a:solidFill>
                    <a:srgbClr val="000000"/>
                  </a:solidFill>
                </a:rPr>
                <a:t>How Aviation Has Greatly Reduced Aircraft Noise</a:t>
              </a:r>
            </a:p>
            <a:p>
              <a:pPr marL="177800"/>
              <a:r>
                <a:rPr lang="en-US" sz="2400" dirty="0" smtClean="0">
                  <a:solidFill>
                    <a:srgbClr val="C00000"/>
                  </a:solidFill>
                </a:rPr>
                <a:t>Through Investment, Technology and Operations</a:t>
              </a:r>
              <a:endParaRPr lang="en-US" sz="2400" dirty="0">
                <a:solidFill>
                  <a:srgbClr val="C00000"/>
                </a:solidFill>
              </a:endParaRP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393700" y="1195286"/>
              <a:ext cx="8813800" cy="1588"/>
            </a:xfrm>
            <a:prstGeom prst="line">
              <a:avLst/>
            </a:prstGeom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393700" y="5761040"/>
              <a:ext cx="8826500" cy="1588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3"/>
          <p:cNvSpPr txBox="1">
            <a:spLocks/>
          </p:cNvSpPr>
          <p:nvPr/>
        </p:nvSpPr>
        <p:spPr>
          <a:xfrm>
            <a:off x="4610895" y="6044352"/>
            <a:ext cx="3810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74C570C4-B42A-410E-9318-4E6AD431B2AF}" type="slidenum">
              <a:rPr lang="en-US" sz="1050" smtClean="0">
                <a:solidFill>
                  <a:srgbClr val="000000"/>
                </a:solidFill>
              </a:rPr>
              <a:pPr algn="ctr"/>
              <a:t>4</a:t>
            </a:fld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296825" y="1196875"/>
            <a:ext cx="8843845" cy="456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00050" indent="-285750">
              <a:spcBef>
                <a:spcPts val="600"/>
              </a:spcBef>
              <a:spcAft>
                <a:spcPts val="12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u="sng" dirty="0" smtClean="0">
                <a:solidFill>
                  <a:srgbClr val="1070AC"/>
                </a:solidFill>
                <a:latin typeface="Arial"/>
                <a:cs typeface="Arial"/>
              </a:rPr>
              <a:t>Aircraft</a:t>
            </a: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 Are 75% Quieter Today than  the First Generation of Jet Aircraft</a:t>
            </a:r>
            <a:endParaRPr lang="en-US" sz="2800" b="1" u="sng" dirty="0">
              <a:solidFill>
                <a:srgbClr val="1070AC"/>
              </a:solidFill>
              <a:latin typeface="Arial"/>
              <a:cs typeface="Arial"/>
            </a:endParaRPr>
          </a:p>
          <a:p>
            <a:pPr marL="914400" lvl="1" indent="-34290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And today’s new aircraft are 50% quieter than aircraft 10 years ago</a:t>
            </a:r>
            <a:endParaRPr lang="en-US" sz="20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00050" indent="-285750">
              <a:spcBef>
                <a:spcPts val="600"/>
              </a:spcBef>
              <a:spcAft>
                <a:spcPts val="12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Stringent Aircraft </a:t>
            </a:r>
            <a:r>
              <a:rPr lang="en-US" sz="2800" b="1" u="sng" dirty="0" smtClean="0">
                <a:solidFill>
                  <a:srgbClr val="1070AC"/>
                </a:solidFill>
                <a:latin typeface="Arial"/>
                <a:cs typeface="Arial"/>
              </a:rPr>
              <a:t>Noise Standards</a:t>
            </a: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 and Noise Policy Requirements</a:t>
            </a:r>
          </a:p>
          <a:p>
            <a:pPr marL="400050" indent="-285750">
              <a:spcBef>
                <a:spcPts val="600"/>
              </a:spcBef>
              <a:spcAft>
                <a:spcPts val="12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u="sng" dirty="0" smtClean="0">
                <a:solidFill>
                  <a:srgbClr val="1070AC"/>
                </a:solidFill>
                <a:latin typeface="Arial"/>
                <a:cs typeface="Arial"/>
              </a:rPr>
              <a:t>Research &amp; Development Programs</a:t>
            </a:r>
            <a:endParaRPr lang="en-US" sz="2800" b="1" u="sng" dirty="0">
              <a:solidFill>
                <a:srgbClr val="1070AC"/>
              </a:solidFill>
              <a:latin typeface="Arial"/>
              <a:cs typeface="Arial"/>
            </a:endParaRPr>
          </a:p>
          <a:p>
            <a:pPr marL="400050" indent="-285750">
              <a:spcBef>
                <a:spcPts val="600"/>
              </a:spcBef>
              <a:spcAft>
                <a:spcPts val="12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Airlines Use </a:t>
            </a:r>
            <a:r>
              <a:rPr lang="en-US" sz="2800" b="1" u="sng" dirty="0" smtClean="0">
                <a:solidFill>
                  <a:srgbClr val="1070AC"/>
                </a:solidFill>
                <a:latin typeface="Arial"/>
                <a:cs typeface="Arial"/>
              </a:rPr>
              <a:t>Operating Procedures</a:t>
            </a: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 to Reduce Noise – NextGen Can Help Enable This</a:t>
            </a:r>
            <a:endParaRPr lang="en-US" sz="1500" b="1" dirty="0" smtClean="0">
              <a:solidFill>
                <a:srgbClr val="1070AC"/>
              </a:solidFill>
              <a:latin typeface="Arial"/>
              <a:cs typeface="Arial"/>
            </a:endParaRPr>
          </a:p>
          <a:p>
            <a:pPr marL="400050" indent="-285750">
              <a:spcBef>
                <a:spcPts val="1500"/>
              </a:spcBef>
              <a:spcAft>
                <a:spcPts val="0"/>
              </a:spcAft>
              <a:buClr>
                <a:srgbClr val="F0A933"/>
              </a:buClr>
              <a:buFont typeface="Lucida Grande"/>
              <a:buChar char="»"/>
              <a:defRPr/>
            </a:pPr>
            <a:endParaRPr lang="en-US" sz="1500" b="1" dirty="0" smtClean="0">
              <a:solidFill>
                <a:srgbClr val="1070AC"/>
              </a:solidFill>
              <a:latin typeface="Arial"/>
              <a:cs typeface="Arial"/>
            </a:endParaRPr>
          </a:p>
        </p:txBody>
      </p:sp>
      <p:pic>
        <p:nvPicPr>
          <p:cNvPr id="13" name="Picture 1081" descr="http://ata.airlines.org/Logos/A4A%20(C)%20Color%20Horizontal%20with%20Ta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663" y="5785963"/>
            <a:ext cx="2098569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22072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314145" y="375865"/>
            <a:ext cx="8899006" cy="5386763"/>
            <a:chOff x="393700" y="375865"/>
            <a:chExt cx="8899006" cy="5386763"/>
          </a:xfrm>
        </p:grpSpPr>
        <p:sp>
          <p:nvSpPr>
            <p:cNvPr id="41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69192" y="375865"/>
              <a:ext cx="8823514" cy="819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0" bIns="45720" numCol="1" anchor="b" anchorCtr="0" compatLnSpc="1">
              <a:prstTxWarp prst="textNoShape">
                <a:avLst/>
              </a:prstTxWarp>
            </a:bodyPr>
            <a:lstStyle/>
            <a:p>
              <a:pPr marL="177800"/>
              <a:r>
                <a:rPr lang="en-US" sz="2800" b="1" dirty="0" smtClean="0">
                  <a:solidFill>
                    <a:srgbClr val="000000"/>
                  </a:solidFill>
                  <a:latin typeface="Arial"/>
                </a:rPr>
                <a:t>NextGen Is Critically Important to the U.S.</a:t>
              </a:r>
            </a:p>
            <a:p>
              <a:pPr marL="177800"/>
              <a:r>
                <a:rPr lang="en-US" sz="2400" dirty="0" smtClean="0">
                  <a:solidFill>
                    <a:srgbClr val="C00000"/>
                  </a:solidFill>
                </a:rPr>
                <a:t>But There Can Be Changes in Noise Exposure</a:t>
              </a:r>
              <a:endParaRPr lang="en-US" sz="2400" dirty="0">
                <a:solidFill>
                  <a:srgbClr val="C00000"/>
                </a:solidFill>
                <a:latin typeface="Arial"/>
              </a:endParaRP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393700" y="1195286"/>
              <a:ext cx="8813800" cy="1588"/>
            </a:xfrm>
            <a:prstGeom prst="line">
              <a:avLst/>
            </a:prstGeom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393700" y="5761040"/>
              <a:ext cx="8826500" cy="1588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3"/>
          <p:cNvSpPr txBox="1">
            <a:spLocks/>
          </p:cNvSpPr>
          <p:nvPr/>
        </p:nvSpPr>
        <p:spPr>
          <a:xfrm>
            <a:off x="4610895" y="6044730"/>
            <a:ext cx="3810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74C570C4-B42A-410E-9318-4E6AD431B2AF}" type="slidenum">
              <a:rPr lang="en-US" sz="1050" smtClean="0">
                <a:solidFill>
                  <a:srgbClr val="000000"/>
                </a:solidFill>
              </a:rPr>
              <a:pPr algn="ctr"/>
              <a:t>5</a:t>
            </a:fld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296803" y="1196875"/>
            <a:ext cx="8711275" cy="456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00050" indent="-285750">
              <a:spcBef>
                <a:spcPts val="0"/>
              </a:spcBef>
              <a:spcAft>
                <a:spcPts val="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NextGen Is Necessary &amp; Highly Beneficial</a:t>
            </a: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Necessary to maintain and enhance safety</a:t>
            </a: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Critical to U.S. competitiveness</a:t>
            </a: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Reduces delays</a:t>
            </a: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Enables further fuel and emissions reductions (climate and local impacts)</a:t>
            </a: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Can and often does decrease net noise exposures</a:t>
            </a: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200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marL="400050" indent="-285750">
              <a:spcBef>
                <a:spcPts val="0"/>
              </a:spcBef>
              <a:spcAft>
                <a:spcPts val="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But, New Procedures Can Raise Noise Concerns</a:t>
            </a: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New ATC procedures can shift who is exposed – even if fewer people overall are exposed; and some PBN procedures can “focus” noise more tightly over certain areas</a:t>
            </a: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Rather than the past where former procedures were changed as needed site-by-site, NextGen is in multiple Metroplexes at once</a:t>
            </a: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But note, FAA data shows that the vast majority of procedure changes have been non-controversial</a:t>
            </a:r>
          </a:p>
          <a:p>
            <a:pPr marL="571500" lvl="1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200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marL="914400" lvl="1" indent="-3429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2000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marL="400050" indent="-285750">
              <a:spcBef>
                <a:spcPts val="0"/>
              </a:spcBef>
              <a:spcAft>
                <a:spcPts val="0"/>
              </a:spcAft>
              <a:buClr>
                <a:srgbClr val="F0A933"/>
              </a:buClr>
              <a:buFont typeface="Lucida Grande"/>
              <a:buChar char="»"/>
              <a:defRPr/>
            </a:pPr>
            <a:endParaRPr lang="en-US" sz="2800" b="1" dirty="0" smtClean="0">
              <a:solidFill>
                <a:srgbClr val="1070AC"/>
              </a:solidFill>
              <a:latin typeface="Arial"/>
              <a:cs typeface="Arial"/>
            </a:endParaRPr>
          </a:p>
        </p:txBody>
      </p:sp>
      <p:pic>
        <p:nvPicPr>
          <p:cNvPr id="9" name="Picture 1081" descr="http://ata.airlines.org/Logos/A4A%20(C)%20Color%20Horizontal%20with%20Ta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190" y="5785963"/>
            <a:ext cx="2203862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31161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314147" y="204461"/>
            <a:ext cx="8899006" cy="5558170"/>
            <a:chOff x="393700" y="204458"/>
            <a:chExt cx="8899006" cy="5558170"/>
          </a:xfrm>
        </p:grpSpPr>
        <p:sp>
          <p:nvSpPr>
            <p:cNvPr id="41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69192" y="204458"/>
              <a:ext cx="8823514" cy="819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0" bIns="45720" numCol="1" anchor="b" anchorCtr="0" compatLnSpc="1">
              <a:prstTxWarp prst="textNoShape">
                <a:avLst/>
              </a:prstTxWarp>
            </a:bodyPr>
            <a:lstStyle/>
            <a:p>
              <a:pPr marL="177800"/>
              <a:r>
                <a:rPr lang="en-US" sz="2800" b="1" dirty="0" smtClean="0">
                  <a:solidFill>
                    <a:srgbClr val="000000"/>
                  </a:solidFill>
                </a:rPr>
                <a:t>How Aviation Is Addressing Heightened Noise Concerns</a:t>
              </a:r>
              <a:endParaRPr lang="en-US" sz="2400" dirty="0">
                <a:solidFill>
                  <a:srgbClr val="C00000"/>
                </a:solidFill>
              </a:endParaRP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393700" y="1195286"/>
              <a:ext cx="8813800" cy="1588"/>
            </a:xfrm>
            <a:prstGeom prst="line">
              <a:avLst/>
            </a:prstGeom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393700" y="5761040"/>
              <a:ext cx="8826500" cy="1588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3"/>
          <p:cNvSpPr txBox="1">
            <a:spLocks/>
          </p:cNvSpPr>
          <p:nvPr/>
        </p:nvSpPr>
        <p:spPr>
          <a:xfrm>
            <a:off x="4610895" y="6044352"/>
            <a:ext cx="3810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74C570C4-B42A-410E-9318-4E6AD431B2AF}" type="slidenum">
              <a:rPr lang="en-US" sz="1050" smtClean="0">
                <a:solidFill>
                  <a:srgbClr val="000000"/>
                </a:solidFill>
              </a:rPr>
              <a:pPr algn="ctr"/>
              <a:t>6</a:t>
            </a:fld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296825" y="1196875"/>
            <a:ext cx="8843845" cy="456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00050" indent="-285750">
              <a:spcBef>
                <a:spcPts val="300"/>
              </a:spcBef>
              <a:spcAft>
                <a:spcPts val="6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With Improved Finances, U.S. Airlines Are Purchasing More </a:t>
            </a:r>
            <a:r>
              <a:rPr lang="en-US" sz="2800" b="1" u="sng" dirty="0" smtClean="0">
                <a:solidFill>
                  <a:srgbClr val="1070AC"/>
                </a:solidFill>
                <a:latin typeface="Arial"/>
                <a:cs typeface="Arial"/>
              </a:rPr>
              <a:t>Newer &amp; Quieter Aircraft</a:t>
            </a:r>
            <a:endParaRPr lang="en-US" sz="2800" b="1" u="sng" dirty="0">
              <a:solidFill>
                <a:srgbClr val="1070AC"/>
              </a:solidFill>
              <a:latin typeface="Arial"/>
              <a:cs typeface="Arial"/>
            </a:endParaRPr>
          </a:p>
          <a:p>
            <a:pPr marL="914400" lvl="1" indent="-342900">
              <a:spcBef>
                <a:spcPts val="3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The 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top-ten U.S. passenger </a:t>
            </a: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airlines:</a:t>
            </a:r>
          </a:p>
          <a:p>
            <a:pPr marL="1371600" lvl="2" indent="-342900">
              <a:spcBef>
                <a:spcPts val="3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took 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delivery of 353 new aircraft in </a:t>
            </a: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2016;</a:t>
            </a:r>
          </a:p>
          <a:p>
            <a:pPr marL="1371600" lvl="2" indent="-342900">
              <a:spcBef>
                <a:spcPts val="3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projected delivery 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of an additional 337 </a:t>
            </a: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by year-2017;</a:t>
            </a:r>
          </a:p>
          <a:p>
            <a:pPr marL="1371600" lvl="2" indent="-342900">
              <a:spcBef>
                <a:spcPts val="3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more 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than 1300 firm orders for new aircraft scheduled for delivery in the coming </a:t>
            </a:r>
            <a:r>
              <a:rPr lang="en-US" sz="1800" dirty="0" smtClean="0">
                <a:solidFill>
                  <a:srgbClr val="000000"/>
                </a:solidFill>
                <a:latin typeface="Arial"/>
                <a:cs typeface="Arial"/>
              </a:rPr>
              <a:t>years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400050" indent="-285750">
              <a:spcBef>
                <a:spcPts val="300"/>
              </a:spcBef>
              <a:spcAft>
                <a:spcPts val="6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The </a:t>
            </a:r>
            <a:r>
              <a:rPr lang="en-US" sz="2800" b="1" u="sng" dirty="0" smtClean="0">
                <a:solidFill>
                  <a:srgbClr val="1070AC"/>
                </a:solidFill>
                <a:latin typeface="Arial"/>
                <a:cs typeface="Arial"/>
              </a:rPr>
              <a:t>New U.S./ICAO “Stage 5” Noise Standard </a:t>
            </a: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Goes into Effect for New Aircraft Year-End 2017</a:t>
            </a:r>
          </a:p>
          <a:p>
            <a:pPr marL="914400" lvl="1" indent="-342900">
              <a:spcBef>
                <a:spcPts val="3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7 decibels reduction from Stage 4; approximately 35% quieter</a:t>
            </a:r>
            <a:endParaRPr lang="en-US" sz="20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13" name="Picture 1081" descr="http://ata.airlines.org/Logos/A4A%20(C)%20Color%20Horizontal%20with%20Ta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663" y="5785963"/>
            <a:ext cx="2098569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81431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314147" y="204461"/>
            <a:ext cx="8899006" cy="5558170"/>
            <a:chOff x="393700" y="204458"/>
            <a:chExt cx="8899006" cy="5558170"/>
          </a:xfrm>
        </p:grpSpPr>
        <p:sp>
          <p:nvSpPr>
            <p:cNvPr id="41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69192" y="204458"/>
              <a:ext cx="8823514" cy="819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0" bIns="45720" numCol="1" anchor="b" anchorCtr="0" compatLnSpc="1">
              <a:prstTxWarp prst="textNoShape">
                <a:avLst/>
              </a:prstTxWarp>
            </a:bodyPr>
            <a:lstStyle/>
            <a:p>
              <a:pPr marL="177800"/>
              <a:r>
                <a:rPr lang="en-US" sz="2800" b="1" dirty="0" smtClean="0">
                  <a:solidFill>
                    <a:srgbClr val="000000"/>
                  </a:solidFill>
                </a:rPr>
                <a:t>How Aviation Is Addressing Heightened Noise Concerns (cont.)</a:t>
              </a:r>
              <a:endParaRPr lang="en-US" sz="2400" dirty="0">
                <a:solidFill>
                  <a:srgbClr val="C00000"/>
                </a:solidFill>
              </a:endParaRP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393700" y="1195286"/>
              <a:ext cx="8813800" cy="1588"/>
            </a:xfrm>
            <a:prstGeom prst="line">
              <a:avLst/>
            </a:prstGeom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393700" y="5761040"/>
              <a:ext cx="8826500" cy="1588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3"/>
          <p:cNvSpPr txBox="1">
            <a:spLocks/>
          </p:cNvSpPr>
          <p:nvPr/>
        </p:nvSpPr>
        <p:spPr>
          <a:xfrm>
            <a:off x="4610895" y="6044352"/>
            <a:ext cx="3810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74C570C4-B42A-410E-9318-4E6AD431B2AF}" type="slidenum">
              <a:rPr lang="en-US" sz="1050" smtClean="0">
                <a:solidFill>
                  <a:srgbClr val="000000"/>
                </a:solidFill>
              </a:rPr>
              <a:pPr algn="ctr"/>
              <a:t>7</a:t>
            </a:fld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296825" y="1196875"/>
            <a:ext cx="8843845" cy="456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00050" indent="-285750">
              <a:spcBef>
                <a:spcPts val="600"/>
              </a:spcBef>
              <a:spcAft>
                <a:spcPts val="6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Public-Private </a:t>
            </a:r>
            <a:r>
              <a:rPr lang="en-US" sz="2800" b="1" u="sng" dirty="0" smtClean="0">
                <a:solidFill>
                  <a:srgbClr val="1070AC"/>
                </a:solidFill>
                <a:latin typeface="Arial"/>
                <a:cs typeface="Arial"/>
              </a:rPr>
              <a:t>CLEEN R&amp;D </a:t>
            </a: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Program with FAA for Additional Noise Reduction at Source</a:t>
            </a:r>
          </a:p>
          <a:p>
            <a:pPr marL="914400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Goal is aircraft achieving a 32 decibel reduction relative 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to </a:t>
            </a: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the current standard</a:t>
            </a:r>
          </a:p>
          <a:p>
            <a:pPr marL="400050" indent="-285750">
              <a:spcBef>
                <a:spcPts val="600"/>
              </a:spcBef>
              <a:spcAft>
                <a:spcPts val="6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Implementing Continuous Descent &amp; Other Noise-Reducing </a:t>
            </a:r>
            <a:r>
              <a:rPr lang="en-US" sz="2800" b="1" u="sng" dirty="0" smtClean="0">
                <a:solidFill>
                  <a:srgbClr val="1070AC"/>
                </a:solidFill>
                <a:latin typeface="Arial"/>
                <a:cs typeface="Arial"/>
              </a:rPr>
              <a:t>Operating Procedures</a:t>
            </a: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 Where Safe and Practicable</a:t>
            </a:r>
          </a:p>
          <a:p>
            <a:pPr marL="914400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ATC procedures are highly technical and safety is </a:t>
            </a: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paramount; and “local” procedures must work within National Air Space</a:t>
            </a:r>
          </a:p>
          <a:p>
            <a:pPr marL="400050" indent="-285750">
              <a:spcBef>
                <a:spcPts val="600"/>
              </a:spcBef>
              <a:spcAft>
                <a:spcPts val="6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u="sng" dirty="0" smtClean="0">
                <a:solidFill>
                  <a:srgbClr val="1070AC"/>
                </a:solidFill>
                <a:latin typeface="Arial"/>
                <a:cs typeface="Arial"/>
              </a:rPr>
              <a:t>Supporting Community Outreach/Engagement</a:t>
            </a:r>
            <a:endParaRPr lang="en-US" sz="1500" b="1" u="sng" dirty="0" smtClean="0">
              <a:solidFill>
                <a:srgbClr val="1070AC"/>
              </a:solidFill>
              <a:latin typeface="Arial"/>
              <a:cs typeface="Arial"/>
            </a:endParaRPr>
          </a:p>
          <a:p>
            <a:pPr marL="914400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endParaRPr lang="en-US" sz="20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13" name="Picture 1081" descr="http://ata.airlines.org/Logos/A4A%20(C)%20Color%20Horizontal%20with%20Ta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663" y="5785963"/>
            <a:ext cx="2098569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05717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181216" y="264447"/>
            <a:ext cx="9240358" cy="5498181"/>
            <a:chOff x="294703" y="264447"/>
            <a:chExt cx="9240358" cy="5498181"/>
          </a:xfrm>
        </p:grpSpPr>
        <p:sp>
          <p:nvSpPr>
            <p:cNvPr id="41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94703" y="264447"/>
              <a:ext cx="9240358" cy="819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0" bIns="45720" numCol="1" anchor="b" anchorCtr="0" compatLnSpc="1">
              <a:prstTxWarp prst="textNoShape">
                <a:avLst/>
              </a:prstTxWarp>
            </a:bodyPr>
            <a:lstStyle/>
            <a:p>
              <a:pPr marL="177800"/>
              <a:r>
                <a:rPr lang="en-US" sz="2800" b="1" dirty="0" smtClean="0">
                  <a:solidFill>
                    <a:srgbClr val="000000"/>
                  </a:solidFill>
                  <a:latin typeface="Arial"/>
                </a:rPr>
                <a:t>Aviation Support for Enhanced Community Outreach</a:t>
              </a:r>
            </a:p>
            <a:p>
              <a:pPr marL="177800"/>
              <a:r>
                <a:rPr lang="en-US" sz="2400" dirty="0" smtClean="0">
                  <a:solidFill>
                    <a:srgbClr val="C00000"/>
                  </a:solidFill>
                  <a:latin typeface="Arial"/>
                </a:rPr>
                <a:t>Airlines, Airports, N.O.I.S.E &amp; FAA Engagement</a:t>
              </a:r>
              <a:endParaRPr lang="en-US" sz="2400" dirty="0">
                <a:solidFill>
                  <a:srgbClr val="C00000"/>
                </a:solidFill>
                <a:latin typeface="Arial"/>
              </a:endParaRP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393700" y="1195286"/>
              <a:ext cx="8813800" cy="1588"/>
            </a:xfrm>
            <a:prstGeom prst="line">
              <a:avLst/>
            </a:prstGeom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393700" y="5761040"/>
              <a:ext cx="8826500" cy="1588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3"/>
          <p:cNvSpPr txBox="1">
            <a:spLocks/>
          </p:cNvSpPr>
          <p:nvPr/>
        </p:nvSpPr>
        <p:spPr>
          <a:xfrm>
            <a:off x="4610895" y="6044350"/>
            <a:ext cx="3810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74C570C4-B42A-410E-9318-4E6AD431B2AF}" type="slidenum">
              <a:rPr lang="en-US" sz="1050" smtClean="0">
                <a:solidFill>
                  <a:srgbClr val="000000"/>
                </a:solidFill>
              </a:rPr>
              <a:pPr algn="ctr"/>
              <a:t>8</a:t>
            </a:fld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296803" y="1196875"/>
            <a:ext cx="8711275" cy="456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00050" indent="-285750">
              <a:spcBef>
                <a:spcPts val="600"/>
              </a:spcBef>
              <a:spcAft>
                <a:spcPts val="6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2014 and 2016 NextGen Advisory Committee (NAC)/Industry PBN Blueprint Recommendations</a:t>
            </a:r>
            <a:endParaRPr lang="en-US" sz="2800" b="1" dirty="0">
              <a:solidFill>
                <a:srgbClr val="1070AC"/>
              </a:solidFill>
              <a:latin typeface="Arial"/>
              <a:cs typeface="Arial"/>
            </a:endParaRPr>
          </a:p>
          <a:p>
            <a:pPr marL="914400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Comprehensive recommendations for enhanced outreach</a:t>
            </a:r>
          </a:p>
          <a:p>
            <a:pPr marL="400050" indent="-285750">
              <a:spcBef>
                <a:spcPts val="600"/>
              </a:spcBef>
              <a:spcAft>
                <a:spcPts val="6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FAA Is Implementing</a:t>
            </a:r>
          </a:p>
          <a:p>
            <a:pPr marL="914400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Updated 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the FAA Community Involvement </a:t>
            </a: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Manual </a:t>
            </a:r>
          </a:p>
          <a:p>
            <a:pPr marL="914400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Formed 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a Noise Complaint Initiative (NCI) working </a:t>
            </a: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group</a:t>
            </a:r>
          </a:p>
          <a:p>
            <a:pPr marL="914400" lvl="1" indent="-3429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Enhanced Metroplex outreach strategy and supporting tools, scalable to single sites</a:t>
            </a:r>
            <a:endParaRPr lang="en-US" sz="20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9" name="Picture 1081" descr="http://ata.airlines.org/Logos/A4A%20(C)%20Color%20Horizontal%20with%20Tag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638" y="5973245"/>
            <a:ext cx="2203862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03673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Group 39"/>
          <p:cNvGrpSpPr/>
          <p:nvPr/>
        </p:nvGrpSpPr>
        <p:grpSpPr>
          <a:xfrm>
            <a:off x="314145" y="204458"/>
            <a:ext cx="8899006" cy="5558170"/>
            <a:chOff x="393700" y="204458"/>
            <a:chExt cx="8899006" cy="5558170"/>
          </a:xfrm>
        </p:grpSpPr>
        <p:sp>
          <p:nvSpPr>
            <p:cNvPr id="41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69192" y="204458"/>
              <a:ext cx="8823514" cy="819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45720" rIns="0" bIns="45720" numCol="1" anchor="b" anchorCtr="0" compatLnSpc="1">
              <a:prstTxWarp prst="textNoShape">
                <a:avLst/>
              </a:prstTxWarp>
            </a:bodyPr>
            <a:lstStyle/>
            <a:p>
              <a:pPr marL="177800"/>
              <a:r>
                <a:rPr lang="en-US" sz="2800" b="1" dirty="0" smtClean="0">
                  <a:solidFill>
                    <a:srgbClr val="000000"/>
                  </a:solidFill>
                </a:rPr>
                <a:t>A Word </a:t>
              </a:r>
              <a:r>
                <a:rPr lang="en-US" sz="2800" b="1" dirty="0">
                  <a:solidFill>
                    <a:srgbClr val="000000"/>
                  </a:solidFill>
                </a:rPr>
                <a:t>About the U.S. Airlines’ Synergistic Environmental </a:t>
              </a:r>
              <a:r>
                <a:rPr lang="en-US" sz="2800" b="1" dirty="0" smtClean="0">
                  <a:solidFill>
                    <a:srgbClr val="000000"/>
                  </a:solidFill>
                </a:rPr>
                <a:t>Commitments</a:t>
              </a:r>
              <a:endParaRPr lang="en-US" sz="2400" dirty="0">
                <a:solidFill>
                  <a:srgbClr val="C00000"/>
                </a:solidFill>
              </a:endParaRPr>
            </a:p>
          </p:txBody>
        </p:sp>
        <p:cxnSp>
          <p:nvCxnSpPr>
            <p:cNvPr id="56" name="Straight Connector 55"/>
            <p:cNvCxnSpPr/>
            <p:nvPr/>
          </p:nvCxnSpPr>
          <p:spPr>
            <a:xfrm>
              <a:off x="393700" y="1195286"/>
              <a:ext cx="8813800" cy="1588"/>
            </a:xfrm>
            <a:prstGeom prst="line">
              <a:avLst/>
            </a:prstGeom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393700" y="5761040"/>
              <a:ext cx="8826500" cy="1588"/>
            </a:xfrm>
            <a:prstGeom prst="line">
              <a:avLst/>
            </a:prstGeom>
            <a:ln w="254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Slide Number Placeholder 3"/>
          <p:cNvSpPr txBox="1">
            <a:spLocks/>
          </p:cNvSpPr>
          <p:nvPr/>
        </p:nvSpPr>
        <p:spPr>
          <a:xfrm>
            <a:off x="4610895" y="6044308"/>
            <a:ext cx="3810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fld id="{74C570C4-B42A-410E-9318-4E6AD431B2AF}" type="slidenum">
              <a:rPr lang="en-US" sz="1050" smtClean="0">
                <a:solidFill>
                  <a:srgbClr val="000000"/>
                </a:solidFill>
              </a:rPr>
              <a:pPr algn="ctr"/>
              <a:t>9</a:t>
            </a:fld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296804" y="1196875"/>
            <a:ext cx="7082192" cy="456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00050" indent="-285750">
              <a:spcBef>
                <a:spcPts val="300"/>
              </a:spcBef>
              <a:spcAft>
                <a:spcPts val="4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Strong Environmental Record . . .</a:t>
            </a:r>
            <a:endParaRPr lang="en-US" sz="2800" b="1" dirty="0">
              <a:solidFill>
                <a:srgbClr val="1070AC"/>
              </a:solidFill>
              <a:latin typeface="Arial"/>
              <a:cs typeface="Arial"/>
            </a:endParaRPr>
          </a:p>
          <a:p>
            <a:pPr marL="914400" lvl="1" indent="-342900">
              <a:spcBef>
                <a:spcPts val="300"/>
              </a:spcBef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C00000"/>
                </a:solidFill>
                <a:latin typeface="Arial"/>
                <a:cs typeface="Arial"/>
              </a:rPr>
              <a:t>94% </a:t>
            </a:r>
            <a:r>
              <a:rPr lang="en-US" sz="2000" dirty="0">
                <a:solidFill>
                  <a:srgbClr val="C00000"/>
                </a:solidFill>
                <a:latin typeface="Arial"/>
                <a:cs typeface="Arial"/>
              </a:rPr>
              <a:t>reduction in significant noise exposures 1975 to </a:t>
            </a:r>
            <a:r>
              <a:rPr lang="en-US" sz="2000" dirty="0" smtClean="0">
                <a:solidFill>
                  <a:srgbClr val="C00000"/>
                </a:solidFill>
                <a:latin typeface="Arial"/>
                <a:cs typeface="Arial"/>
              </a:rPr>
              <a:t>2016, </a:t>
            </a:r>
            <a:r>
              <a:rPr lang="en-US" sz="2000" dirty="0">
                <a:solidFill>
                  <a:srgbClr val="C00000"/>
                </a:solidFill>
                <a:latin typeface="Arial"/>
                <a:cs typeface="Arial"/>
              </a:rPr>
              <a:t>while enplanements rose </a:t>
            </a:r>
            <a:r>
              <a:rPr lang="en-US" sz="2000" dirty="0" smtClean="0">
                <a:solidFill>
                  <a:srgbClr val="C00000"/>
                </a:solidFill>
                <a:latin typeface="Arial"/>
                <a:cs typeface="Arial"/>
              </a:rPr>
              <a:t>325%</a:t>
            </a:r>
            <a:endParaRPr lang="en-US" sz="2000" dirty="0">
              <a:solidFill>
                <a:srgbClr val="C00000"/>
              </a:solidFill>
              <a:latin typeface="Arial"/>
              <a:cs typeface="Arial"/>
            </a:endParaRPr>
          </a:p>
          <a:p>
            <a:pPr marL="914400" lvl="1" indent="-342900">
              <a:spcBef>
                <a:spcPts val="300"/>
              </a:spcBef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C00000"/>
                </a:solidFill>
                <a:latin typeface="Arial"/>
                <a:cs typeface="Arial"/>
              </a:rPr>
              <a:t>2% </a:t>
            </a:r>
            <a:r>
              <a:rPr lang="en-US" sz="2000" dirty="0">
                <a:solidFill>
                  <a:srgbClr val="C00000"/>
                </a:solidFill>
                <a:latin typeface="Arial"/>
                <a:cs typeface="Arial"/>
              </a:rPr>
              <a:t>of man-made CO</a:t>
            </a:r>
            <a:r>
              <a:rPr lang="en-US" sz="2000" baseline="-25000" dirty="0">
                <a:solidFill>
                  <a:srgbClr val="C00000"/>
                </a:solidFill>
                <a:latin typeface="Arial"/>
                <a:cs typeface="Arial"/>
              </a:rPr>
              <a:t>2</a:t>
            </a:r>
            <a:r>
              <a:rPr lang="en-US" sz="2000" dirty="0">
                <a:solidFill>
                  <a:srgbClr val="C00000"/>
                </a:solidFill>
                <a:latin typeface="Arial"/>
                <a:cs typeface="Arial"/>
              </a:rPr>
              <a:t>, while 5% of the </a:t>
            </a:r>
            <a:r>
              <a:rPr lang="en-US" sz="2000" dirty="0" smtClean="0">
                <a:solidFill>
                  <a:srgbClr val="C00000"/>
                </a:solidFill>
                <a:latin typeface="Arial"/>
                <a:cs typeface="Arial"/>
              </a:rPr>
              <a:t>GDP; and we have an aggressive climate commitment going forward</a:t>
            </a:r>
            <a:endParaRPr lang="en-US" sz="2000" dirty="0">
              <a:solidFill>
                <a:srgbClr val="C00000"/>
              </a:solidFill>
              <a:latin typeface="Arial"/>
              <a:cs typeface="Arial"/>
            </a:endParaRPr>
          </a:p>
          <a:p>
            <a:pPr marL="914400" lvl="1" indent="-342900">
              <a:spcBef>
                <a:spcPts val="300"/>
              </a:spcBef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rgbClr val="C00000"/>
                </a:solidFill>
                <a:latin typeface="Arial"/>
                <a:cs typeface="Arial"/>
              </a:rPr>
              <a:t>Carbon monoxide and smoke virtually eliminated, and oxides of nitrogen from aircraft continually </a:t>
            </a:r>
            <a:r>
              <a:rPr lang="en-US" sz="2000" dirty="0" smtClean="0">
                <a:solidFill>
                  <a:srgbClr val="C00000"/>
                </a:solidFill>
                <a:latin typeface="Arial"/>
                <a:cs typeface="Arial"/>
              </a:rPr>
              <a:t>reduced</a:t>
            </a:r>
          </a:p>
          <a:p>
            <a:pPr marL="914400" lvl="1" indent="-342900">
              <a:spcBef>
                <a:spcPts val="300"/>
              </a:spcBef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Voluntary 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program for aircraft </a:t>
            </a: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deicing (on top of regs) </a:t>
            </a:r>
          </a:p>
          <a:p>
            <a:pPr marL="914400" lvl="1" indent="-342900">
              <a:spcBef>
                <a:spcPts val="300"/>
              </a:spcBef>
              <a:spcAft>
                <a:spcPts val="4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rgbClr val="000000"/>
                </a:solidFill>
                <a:latin typeface="Arial"/>
                <a:cs typeface="Arial"/>
              </a:rPr>
              <a:t>Extensive </a:t>
            </a:r>
            <a:r>
              <a:rPr lang="en-US" sz="2000" dirty="0">
                <a:solidFill>
                  <a:srgbClr val="000000"/>
                </a:solidFill>
                <a:latin typeface="Arial"/>
                <a:cs typeface="Arial"/>
              </a:rPr>
              <a:t>recycling initiatives</a:t>
            </a:r>
          </a:p>
          <a:p>
            <a:pPr marL="400050" indent="-285750">
              <a:spcBef>
                <a:spcPts val="300"/>
              </a:spcBef>
              <a:spcAft>
                <a:spcPts val="400"/>
              </a:spcAft>
              <a:buClr>
                <a:srgbClr val="F0A933"/>
              </a:buClr>
              <a:buFont typeface="Lucida Grande"/>
              <a:buChar char="»"/>
              <a:defRPr/>
            </a:pPr>
            <a:r>
              <a:rPr lang="en-US" sz="2800" b="1" dirty="0" smtClean="0">
                <a:solidFill>
                  <a:srgbClr val="1070AC"/>
                </a:solidFill>
                <a:latin typeface="Arial"/>
                <a:cs typeface="Arial"/>
              </a:rPr>
              <a:t>And We Are Focused on Continuing and Improving on that Record . . .</a:t>
            </a:r>
            <a:endParaRPr lang="en-US" sz="2800" b="1" dirty="0">
              <a:solidFill>
                <a:srgbClr val="1070AC"/>
              </a:solidFill>
              <a:latin typeface="Arial"/>
              <a:cs typeface="Arial"/>
            </a:endParaRPr>
          </a:p>
          <a:p>
            <a:pPr marL="400050" indent="-285750">
              <a:spcBef>
                <a:spcPts val="1500"/>
              </a:spcBef>
              <a:spcAft>
                <a:spcPts val="0"/>
              </a:spcAft>
              <a:buClr>
                <a:srgbClr val="F0A933"/>
              </a:buClr>
              <a:buFont typeface="Lucida Grande"/>
              <a:buChar char="»"/>
              <a:defRPr/>
            </a:pPr>
            <a:endParaRPr lang="en-US" sz="1500" b="1" dirty="0">
              <a:solidFill>
                <a:srgbClr val="1070AC"/>
              </a:solidFill>
              <a:latin typeface="Arial"/>
              <a:cs typeface="Arial"/>
            </a:endParaRPr>
          </a:p>
        </p:txBody>
      </p:sp>
      <p:pic>
        <p:nvPicPr>
          <p:cNvPr id="12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785" y="3179033"/>
            <a:ext cx="1342860" cy="338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081" descr="http://ata.airlines.org/Logos/A4A%20(C)%20Color%20Horizontal%20with%20Tag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864" y="5830793"/>
            <a:ext cx="2098569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ight Brace 3"/>
          <p:cNvSpPr/>
          <p:nvPr/>
        </p:nvSpPr>
        <p:spPr>
          <a:xfrm>
            <a:off x="7203297" y="1807027"/>
            <a:ext cx="351397" cy="1828799"/>
          </a:xfrm>
          <a:prstGeom prst="rightBrac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493315" y="1712847"/>
            <a:ext cx="1930357" cy="141286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en-US" b="1" dirty="0" smtClean="0"/>
              <a:t>Highly interrelated, and ATC modernization is critical</a:t>
            </a:r>
          </a:p>
        </p:txBody>
      </p:sp>
    </p:spTree>
    <p:extLst>
      <p:ext uri="{BB962C8B-B14F-4D97-AF65-F5344CB8AC3E}">
        <p14:creationId xmlns:p14="http://schemas.microsoft.com/office/powerpoint/2010/main" val="20709744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44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OrRZC9k.veXJd48VN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OrRZC9k.veXJd48VN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OrRZC9k.veXJd48VN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OrRZC9k.veXJd48VN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OrRZC9k.veXJd48VN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OrRZC9k.veXJd48VN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OrRZC9k.veXJd48VN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OrRZC9k.veXJd48VN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OrRZC9k.veXJd48VN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OrRZC9k.veXJd48VNEg"/>
</p:tagLst>
</file>

<file path=ppt/theme/theme1.xml><?xml version="1.0" encoding="utf-8"?>
<a:theme xmlns:a="http://schemas.openxmlformats.org/drawingml/2006/main" name="ATA Case for a National Airline Policy 083111 REV">
  <a:themeElements>
    <a:clrScheme name="ATA">
      <a:dk1>
        <a:srgbClr val="000000"/>
      </a:dk1>
      <a:lt1>
        <a:srgbClr val="FFFFFF"/>
      </a:lt1>
      <a:dk2>
        <a:srgbClr val="47474A"/>
      </a:dk2>
      <a:lt2>
        <a:srgbClr val="808080"/>
      </a:lt2>
      <a:accent1>
        <a:srgbClr val="7D7F83"/>
      </a:accent1>
      <a:accent2>
        <a:srgbClr val="ED9A18"/>
      </a:accent2>
      <a:accent3>
        <a:srgbClr val="1070AC"/>
      </a:accent3>
      <a:accent4>
        <a:srgbClr val="A10F1E"/>
      </a:accent4>
      <a:accent5>
        <a:srgbClr val="56A835"/>
      </a:accent5>
      <a:accent6>
        <a:srgbClr val="47474A"/>
      </a:accent6>
      <a:hlink>
        <a:srgbClr val="1070AC"/>
      </a:hlink>
      <a:folHlink>
        <a:srgbClr val="1070AC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4_ATA Case for a National Airline Policy 083111 REV">
  <a:themeElements>
    <a:clrScheme name="ATA">
      <a:dk1>
        <a:srgbClr val="000000"/>
      </a:dk1>
      <a:lt1>
        <a:srgbClr val="FFFFFF"/>
      </a:lt1>
      <a:dk2>
        <a:srgbClr val="47474A"/>
      </a:dk2>
      <a:lt2>
        <a:srgbClr val="808080"/>
      </a:lt2>
      <a:accent1>
        <a:srgbClr val="7D7F83"/>
      </a:accent1>
      <a:accent2>
        <a:srgbClr val="ED9A18"/>
      </a:accent2>
      <a:accent3>
        <a:srgbClr val="1070AC"/>
      </a:accent3>
      <a:accent4>
        <a:srgbClr val="A10F1E"/>
      </a:accent4>
      <a:accent5>
        <a:srgbClr val="56A835"/>
      </a:accent5>
      <a:accent6>
        <a:srgbClr val="47474A"/>
      </a:accent6>
      <a:hlink>
        <a:srgbClr val="1070AC"/>
      </a:hlink>
      <a:folHlink>
        <a:srgbClr val="1070AC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7_ATA Case for a National Airline Policy 083111 REV">
  <a:themeElements>
    <a:clrScheme name="ATA">
      <a:dk1>
        <a:srgbClr val="000000"/>
      </a:dk1>
      <a:lt1>
        <a:srgbClr val="FFFFFF"/>
      </a:lt1>
      <a:dk2>
        <a:srgbClr val="47474A"/>
      </a:dk2>
      <a:lt2>
        <a:srgbClr val="808080"/>
      </a:lt2>
      <a:accent1>
        <a:srgbClr val="7D7F83"/>
      </a:accent1>
      <a:accent2>
        <a:srgbClr val="ED9A18"/>
      </a:accent2>
      <a:accent3>
        <a:srgbClr val="1070AC"/>
      </a:accent3>
      <a:accent4>
        <a:srgbClr val="A10F1E"/>
      </a:accent4>
      <a:accent5>
        <a:srgbClr val="56A835"/>
      </a:accent5>
      <a:accent6>
        <a:srgbClr val="47474A"/>
      </a:accent6>
      <a:hlink>
        <a:srgbClr val="1070AC"/>
      </a:hlink>
      <a:folHlink>
        <a:srgbClr val="1070AC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5_ATA Case for a National Airline Policy 083111 REV">
  <a:themeElements>
    <a:clrScheme name="ATA">
      <a:dk1>
        <a:srgbClr val="000000"/>
      </a:dk1>
      <a:lt1>
        <a:srgbClr val="FFFFFF"/>
      </a:lt1>
      <a:dk2>
        <a:srgbClr val="47474A"/>
      </a:dk2>
      <a:lt2>
        <a:srgbClr val="808080"/>
      </a:lt2>
      <a:accent1>
        <a:srgbClr val="7D7F83"/>
      </a:accent1>
      <a:accent2>
        <a:srgbClr val="ED9A18"/>
      </a:accent2>
      <a:accent3>
        <a:srgbClr val="1070AC"/>
      </a:accent3>
      <a:accent4>
        <a:srgbClr val="A10F1E"/>
      </a:accent4>
      <a:accent5>
        <a:srgbClr val="56A835"/>
      </a:accent5>
      <a:accent6>
        <a:srgbClr val="47474A"/>
      </a:accent6>
      <a:hlink>
        <a:srgbClr val="1070AC"/>
      </a:hlink>
      <a:folHlink>
        <a:srgbClr val="1070AC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7_ATA Case for a National Airline Policy 083111 REV">
  <a:themeElements>
    <a:clrScheme name="ATA">
      <a:dk1>
        <a:srgbClr val="000000"/>
      </a:dk1>
      <a:lt1>
        <a:srgbClr val="FFFFFF"/>
      </a:lt1>
      <a:dk2>
        <a:srgbClr val="47474A"/>
      </a:dk2>
      <a:lt2>
        <a:srgbClr val="808080"/>
      </a:lt2>
      <a:accent1>
        <a:srgbClr val="7D7F83"/>
      </a:accent1>
      <a:accent2>
        <a:srgbClr val="ED9A18"/>
      </a:accent2>
      <a:accent3>
        <a:srgbClr val="1070AC"/>
      </a:accent3>
      <a:accent4>
        <a:srgbClr val="A10F1E"/>
      </a:accent4>
      <a:accent5>
        <a:srgbClr val="56A835"/>
      </a:accent5>
      <a:accent6>
        <a:srgbClr val="47474A"/>
      </a:accent6>
      <a:hlink>
        <a:srgbClr val="1070AC"/>
      </a:hlink>
      <a:folHlink>
        <a:srgbClr val="1070AC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6_ATA Case for a National Airline Policy 083111 REV">
  <a:themeElements>
    <a:clrScheme name="ATA">
      <a:dk1>
        <a:srgbClr val="000000"/>
      </a:dk1>
      <a:lt1>
        <a:srgbClr val="FFFFFF"/>
      </a:lt1>
      <a:dk2>
        <a:srgbClr val="47474A"/>
      </a:dk2>
      <a:lt2>
        <a:srgbClr val="808080"/>
      </a:lt2>
      <a:accent1>
        <a:srgbClr val="7D7F83"/>
      </a:accent1>
      <a:accent2>
        <a:srgbClr val="ED9A18"/>
      </a:accent2>
      <a:accent3>
        <a:srgbClr val="1070AC"/>
      </a:accent3>
      <a:accent4>
        <a:srgbClr val="A10F1E"/>
      </a:accent4>
      <a:accent5>
        <a:srgbClr val="56A835"/>
      </a:accent5>
      <a:accent6>
        <a:srgbClr val="47474A"/>
      </a:accent6>
      <a:hlink>
        <a:srgbClr val="1070AC"/>
      </a:hlink>
      <a:folHlink>
        <a:srgbClr val="1070AC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2_ATA Case for a National Airline Policy 083111 REV">
  <a:themeElements>
    <a:clrScheme name="ATA">
      <a:dk1>
        <a:srgbClr val="000000"/>
      </a:dk1>
      <a:lt1>
        <a:srgbClr val="FFFFFF"/>
      </a:lt1>
      <a:dk2>
        <a:srgbClr val="47474A"/>
      </a:dk2>
      <a:lt2>
        <a:srgbClr val="808080"/>
      </a:lt2>
      <a:accent1>
        <a:srgbClr val="7D7F83"/>
      </a:accent1>
      <a:accent2>
        <a:srgbClr val="ED9A18"/>
      </a:accent2>
      <a:accent3>
        <a:srgbClr val="1070AC"/>
      </a:accent3>
      <a:accent4>
        <a:srgbClr val="A10F1E"/>
      </a:accent4>
      <a:accent5>
        <a:srgbClr val="56A835"/>
      </a:accent5>
      <a:accent6>
        <a:srgbClr val="47474A"/>
      </a:accent6>
      <a:hlink>
        <a:srgbClr val="1070AC"/>
      </a:hlink>
      <a:folHlink>
        <a:srgbClr val="1070AC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IndustryMemberEventHandler_ItemAdded</Name>
    <Type>10001</Type>
    <SequenceNumber>10000</SequenceNumber>
    <Assembly>ATA.EventHandlers, Version=1.0.0.0, Culture=neutral, PublicKeyToken=582b55e7502284d6</Assembly>
    <Class>ATA.EventHandlers.IndustryMemberEventHandler</Class>
    <Data/>
    <Filter/>
  </Receiver>
  <Receiver>
    <Name>IndustryMemberEventHandler_ItemUpdated</Name>
    <Type>10002</Type>
    <SequenceNumber>10000</SequenceNumber>
    <Assembly>ATA.EventHandlers, Version=1.0.0.0, Culture=neutral, PublicKeyToken=582b55e7502284d6</Assembly>
    <Class>ATA.EventHandlers.IndustryMemberEvent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3704A31D1FF84795189D2235AAACCC" ma:contentTypeVersion="4" ma:contentTypeDescription="Create a new document." ma:contentTypeScope="" ma:versionID="36587eba0d2245c9d397e476d695fe95">
  <xsd:schema xmlns:xsd="http://www.w3.org/2001/XMLSchema" xmlns:p="http://schemas.microsoft.com/office/2006/metadata/properties" xmlns:ns1="http://schemas.microsoft.com/sharepoint/v3" xmlns:ns2="86499063-6a44-4f12-b87d-aa7613917650" xmlns:ns3="31d3f5f0-c6e4-4e1a-a627-85a648c6d23a" targetNamespace="http://schemas.microsoft.com/office/2006/metadata/properties" ma:root="true" ma:fieldsID="ee75cba43fbc218e4fc555d8c0e94faf" ns1:_="" ns2:_="" ns3:_="">
    <xsd:import namespace="http://schemas.microsoft.com/sharepoint/v3"/>
    <xsd:import namespace="86499063-6a44-4f12-b87d-aa7613917650"/>
    <xsd:import namespace="31d3f5f0-c6e4-4e1a-a627-85a648c6d23a"/>
    <xsd:element name="properties">
      <xsd:complexType>
        <xsd:sequence>
          <xsd:element name="documentManagement">
            <xsd:complexType>
              <xsd:all>
                <xsd:element ref="ns2:Issue" minOccurs="0"/>
                <xsd:element ref="ns2:Is_x0020_Industry_x0020_Member_x0020_Appropriate" minOccurs="0"/>
                <xsd:element ref="ns2:IndustryMemberTopicArea" minOccurs="0"/>
                <xsd:element ref="ns1:PublishingStartDate" minOccurs="0"/>
                <xsd:element ref="ns1:PublishingExpirationDate" minOccurs="0"/>
                <xsd:element ref="ns3:Category" minOccurs="0"/>
                <xsd:element ref="ns3:Lead_x0020_Author" minOccurs="0"/>
                <xsd:element ref="ns3:Pub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11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12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dms="http://schemas.microsoft.com/office/2006/documentManagement/types" targetNamespace="86499063-6a44-4f12-b87d-aa7613917650" elementFormDefault="qualified">
    <xsd:import namespace="http://schemas.microsoft.com/office/2006/documentManagement/types"/>
    <xsd:element name="Issue" ma:index="8" nillable="true" ma:displayName="Issue" ma:list="{8846C7CB-E667-4CCB-840B-68F118F2A0CC}" ma:internalName="Issue" ma:showField="Title" ma:web="86499063-6a44-4f12-b87d-aa7613917650">
      <xsd:simpleType>
        <xsd:restriction base="dms:Lookup"/>
      </xsd:simpleType>
    </xsd:element>
    <xsd:element name="Is_x0020_Industry_x0020_Member_x0020_Appropriate" ma:index="9" nillable="true" ma:displayName="Is Industry Member Appropriate" ma:default="0" ma:description="This is to specify if content is appropriate for Industry Member" ma:internalName="Is_x0020_Industry_x0020_Member_x0020_Appropriate">
      <xsd:simpleType>
        <xsd:restriction base="dms:Boolean"/>
      </xsd:simpleType>
    </xsd:element>
    <xsd:element name="IndustryMemberTopicArea" ma:index="10" nillable="true" ma:displayName="IndustryMemberTopicArea" ma:format="Dropdown" ma:internalName="IndustryMemberTopicArea">
      <xsd:simpleType>
        <xsd:restriction base="dms:Choice">
          <xsd:enumeration value="Economics"/>
          <xsd:enumeration value="Energy"/>
          <xsd:enumeration value="Air Traffic Control"/>
          <xsd:enumeration value="Engineering &amp; Maintenance"/>
          <xsd:enumeration value="Events"/>
          <xsd:enumeration value="Legislative Issues"/>
          <xsd:enumeration value="Special Topics"/>
        </xsd:restriction>
      </xsd:simpleType>
    </xsd:element>
  </xsd:schema>
  <xsd:schema xmlns:xsd="http://www.w3.org/2001/XMLSchema" xmlns:dms="http://schemas.microsoft.com/office/2006/documentManagement/types" targetNamespace="31d3f5f0-c6e4-4e1a-a627-85a648c6d23a" elementFormDefault="qualified">
    <xsd:import namespace="http://schemas.microsoft.com/office/2006/documentManagement/types"/>
    <xsd:element name="Category" ma:index="13" nillable="true" ma:displayName="Category" ma:default="A4A Data Compilation" ma:format="RadioButtons" ma:internalName="Category">
      <xsd:simpleType>
        <xsd:restriction base="dms:Choice">
          <xsd:enumeration value="A4A Data Compilation"/>
          <xsd:enumeration value="A4A Presentation"/>
          <xsd:enumeration value="Government Report"/>
          <xsd:enumeration value="Other Presentation/Report"/>
        </xsd:restriction>
      </xsd:simpleType>
    </xsd:element>
    <xsd:element name="Lead_x0020_Author" ma:index="14" nillable="true" ma:displayName="Lead Author(s)" ma:internalName="Lead_x0020_Author">
      <xsd:simpleType>
        <xsd:restriction base="dms:Text">
          <xsd:maxLength value="50"/>
        </xsd:restriction>
      </xsd:simpleType>
    </xsd:element>
    <xsd:element name="PubDate" ma:index="15" nillable="true" ma:displayName="PubDate" ma:default="[today]" ma:format="DateOnly" ma:internalName="Pub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>
  <documentManagement>
    <Is_x0020_Industry_x0020_Member_x0020_Appropriate xmlns="86499063-6a44-4f12-b87d-aa7613917650">true</Is_x0020_Industry_x0020_Member_x0020_Appropriate>
    <Lead_x0020_Author xmlns="31d3f5f0-c6e4-4e1a-a627-85a648c6d23a">John Heimlich</Lead_x0020_Author>
    <PubDate xmlns="31d3f5f0-c6e4-4e1a-a627-85a648c6d23a">2012-02-15T05:00:00+00:00</PubDate>
    <PublishingExpirationDate xmlns="http://schemas.microsoft.com/sharepoint/v3" xsi:nil="true"/>
    <Category xmlns="31d3f5f0-c6e4-4e1a-a627-85a648c6d23a">A4A Presentation</Category>
    <PublishingStartDate xmlns="http://schemas.microsoft.com/sharepoint/v3" xsi:nil="true"/>
    <IndustryMemberTopicArea xmlns="86499063-6a44-4f12-b87d-aa7613917650">Economics</IndustryMemberTopicArea>
    <Issue xmlns="86499063-6a44-4f12-b87d-aa7613917650" xsi:nil="true"/>
  </documentManagement>
</p:properties>
</file>

<file path=customXml/itemProps1.xml><?xml version="1.0" encoding="utf-8"?>
<ds:datastoreItem xmlns:ds="http://schemas.openxmlformats.org/officeDocument/2006/customXml" ds:itemID="{31D7E0B5-D9E1-4B78-AF04-CFBB097BDF30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836ACF2D-8404-49EC-A6E4-C686212908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6499063-6a44-4f12-b87d-aa7613917650"/>
    <ds:schemaRef ds:uri="31d3f5f0-c6e4-4e1a-a627-85a648c6d23a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2757EA4E-A27A-4E87-BF9F-1CB731A6683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38754C0A-A811-478B-B475-5580F23D582F}">
  <ds:schemaRefs>
    <ds:schemaRef ds:uri="http://schemas.microsoft.com/sharepoint/v3"/>
    <ds:schemaRef ds:uri="http://purl.org/dc/terms/"/>
    <ds:schemaRef ds:uri="86499063-6a44-4f12-b87d-aa7613917650"/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31d3f5f0-c6e4-4e1a-a627-85a648c6d23a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TA Case for a National Airline Policy 083111 REV.thmx</Template>
  <TotalTime>15262</TotalTime>
  <Words>801</Words>
  <Application>Microsoft Office PowerPoint</Application>
  <PresentationFormat>Custom</PresentationFormat>
  <Paragraphs>96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2" baseType="lpstr">
      <vt:lpstr>Arial</vt:lpstr>
      <vt:lpstr>Calibri</vt:lpstr>
      <vt:lpstr>Lucida Grande</vt:lpstr>
      <vt:lpstr>Times New Roman</vt:lpstr>
      <vt:lpstr>ATA Case for a National Airline Policy 083111 REV</vt:lpstr>
      <vt:lpstr>4_ATA Case for a National Airline Policy 083111 REV</vt:lpstr>
      <vt:lpstr>17_ATA Case for a National Airline Policy 083111 REV</vt:lpstr>
      <vt:lpstr>5_ATA Case for a National Airline Policy 083111 REV</vt:lpstr>
      <vt:lpstr>7_ATA Case for a National Airline Policy 083111 REV</vt:lpstr>
      <vt:lpstr>6_ATA Case for a National Airline Policy 083111 REV</vt:lpstr>
      <vt:lpstr>2_ATA Case for a National Airline Policy 083111 REV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4A Slides: Industry Review &amp; Outlook</dc:title>
  <dc:creator>Martin Daniels</dc:creator>
  <cp:lastModifiedBy>Tranter, Emily J.</cp:lastModifiedBy>
  <cp:revision>2013</cp:revision>
  <cp:lastPrinted>2017-01-26T15:35:39Z</cp:lastPrinted>
  <dcterms:created xsi:type="dcterms:W3CDTF">2011-11-22T14:26:57Z</dcterms:created>
  <dcterms:modified xsi:type="dcterms:W3CDTF">2017-11-15T15:5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Letter</vt:lpwstr>
  </property>
  <property fmtid="{D5CDD505-2E9C-101B-9397-08002B2CF9AE}" pid="5" name="ContentTypeId">
    <vt:lpwstr>0x010100313704A31D1FF84795189D2235AAACCC</vt:lpwstr>
  </property>
</Properties>
</file>